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media/image111.jpg" ContentType="image/jp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455" r:id="rId2"/>
    <p:sldId id="523" r:id="rId3"/>
    <p:sldId id="538" r:id="rId4"/>
    <p:sldId id="531" r:id="rId5"/>
    <p:sldId id="551" r:id="rId6"/>
    <p:sldId id="535" r:id="rId7"/>
    <p:sldId id="539" r:id="rId8"/>
    <p:sldId id="536" r:id="rId9"/>
    <p:sldId id="552" r:id="rId10"/>
    <p:sldId id="568" r:id="rId11"/>
    <p:sldId id="548" r:id="rId12"/>
    <p:sldId id="526" r:id="rId13"/>
    <p:sldId id="542" r:id="rId14"/>
    <p:sldId id="543" r:id="rId15"/>
    <p:sldId id="504" r:id="rId16"/>
    <p:sldId id="533" r:id="rId17"/>
    <p:sldId id="544" r:id="rId18"/>
    <p:sldId id="545" r:id="rId19"/>
    <p:sldId id="525" r:id="rId20"/>
    <p:sldId id="503" r:id="rId21"/>
    <p:sldId id="364" r:id="rId22"/>
    <p:sldId id="546" r:id="rId23"/>
    <p:sldId id="547" r:id="rId24"/>
    <p:sldId id="553" r:id="rId25"/>
    <p:sldId id="565" r:id="rId26"/>
    <p:sldId id="534" r:id="rId27"/>
    <p:sldId id="555" r:id="rId28"/>
    <p:sldId id="556" r:id="rId29"/>
    <p:sldId id="557" r:id="rId30"/>
    <p:sldId id="558" r:id="rId31"/>
    <p:sldId id="559" r:id="rId32"/>
    <p:sldId id="560" r:id="rId33"/>
    <p:sldId id="561" r:id="rId34"/>
    <p:sldId id="562" r:id="rId35"/>
    <p:sldId id="563" r:id="rId36"/>
    <p:sldId id="521" r:id="rId37"/>
    <p:sldId id="554" r:id="rId38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EBF4"/>
    <a:srgbClr val="FFFAEC"/>
    <a:srgbClr val="EFF5FB"/>
    <a:srgbClr val="38658E"/>
    <a:srgbClr val="79BFD5"/>
    <a:srgbClr val="4383DD"/>
    <a:srgbClr val="40A7E1"/>
    <a:srgbClr val="9ED442"/>
    <a:srgbClr val="0073B8"/>
    <a:srgbClr val="F5B1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52" autoAdjust="0"/>
    <p:restoredTop sz="95172" autoAdjust="0"/>
  </p:normalViewPr>
  <p:slideViewPr>
    <p:cSldViewPr snapToGrid="0">
      <p:cViewPr varScale="1">
        <p:scale>
          <a:sx n="102" d="100"/>
          <a:sy n="102" d="100"/>
        </p:scale>
        <p:origin x="126" y="3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1.1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2DA13-878E-4078-8C06-A4F716A8958B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3499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01.1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5986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01.1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963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40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700FF65F-6B5C-4621-BEA3-A0F40410B3C1}" type="slidenum">
              <a:rPr lang="ru-RU" altLang="ru-RU"/>
              <a:pPr/>
              <a:t>3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098231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40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700FF65F-6B5C-4621-BEA3-A0F40410B3C1}" type="slidenum">
              <a:rPr lang="ru-RU" altLang="ru-RU"/>
              <a:pPr/>
              <a:t>3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9506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40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700FF65F-6B5C-4621-BEA3-A0F40410B3C1}" type="slidenum">
              <a:rPr lang="ru-RU" altLang="ru-RU"/>
              <a:pPr/>
              <a:t>3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59286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1044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1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4.png"/><Relationship Id="rId2" Type="http://schemas.openxmlformats.org/officeDocument/2006/relationships/tags" Target="../tags/tag3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3.vml"/><Relationship Id="rId6" Type="http://schemas.microsoft.com/office/2007/relationships/hdphoto" Target="../media/hdphoto1.wdp"/><Relationship Id="rId11" Type="http://schemas.openxmlformats.org/officeDocument/2006/relationships/image" Target="../media/image13.png"/><Relationship Id="rId5" Type="http://schemas.openxmlformats.org/officeDocument/2006/relationships/image" Target="../media/image10.png"/><Relationship Id="rId15" Type="http://schemas.openxmlformats.org/officeDocument/2006/relationships/image" Target="../media/image17.png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e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jpe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18" Type="http://schemas.openxmlformats.org/officeDocument/2006/relationships/image" Target="../media/image49.pn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17" Type="http://schemas.openxmlformats.org/officeDocument/2006/relationships/image" Target="../media/image48.png"/><Relationship Id="rId2" Type="http://schemas.openxmlformats.org/officeDocument/2006/relationships/image" Target="../media/image34.png"/><Relationship Id="rId16" Type="http://schemas.openxmlformats.org/officeDocument/2006/relationships/image" Target="../media/image12.jpe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11" Type="http://schemas.openxmlformats.org/officeDocument/2006/relationships/image" Target="../media/image43.jpeg"/><Relationship Id="rId5" Type="http://schemas.openxmlformats.org/officeDocument/2006/relationships/image" Target="../media/image37.png"/><Relationship Id="rId15" Type="http://schemas.openxmlformats.org/officeDocument/2006/relationships/image" Target="../media/image47.jpeg"/><Relationship Id="rId10" Type="http://schemas.openxmlformats.org/officeDocument/2006/relationships/image" Target="../media/image42.jpeg"/><Relationship Id="rId19" Type="http://schemas.openxmlformats.org/officeDocument/2006/relationships/image" Target="../media/image50.png"/><Relationship Id="rId4" Type="http://schemas.openxmlformats.org/officeDocument/2006/relationships/image" Target="../media/image36.jpeg"/><Relationship Id="rId9" Type="http://schemas.openxmlformats.org/officeDocument/2006/relationships/image" Target="../media/image41.jpeg"/><Relationship Id="rId14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6.svg"/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29" Type="http://schemas.openxmlformats.org/officeDocument/2006/relationships/image" Target="../media/image152.svg"/><Relationship Id="rId1" Type="http://schemas.openxmlformats.org/officeDocument/2006/relationships/slideLayout" Target="../slideLayouts/slideLayout7.xml"/><Relationship Id="rId14" Type="http://schemas.openxmlformats.org/officeDocument/2006/relationships/image" Target="../media/image57.png"/><Relationship Id="rId30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2.jpeg"/><Relationship Id="rId10" Type="http://schemas.openxmlformats.org/officeDocument/2006/relationships/image" Target="../media/image67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73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5.jpeg"/><Relationship Id="rId7" Type="http://schemas.openxmlformats.org/officeDocument/2006/relationships/hyperlink" Target="https://media.prosv.ru/fg/" TargetMode="External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media.prosv.ru/content/?situations=true" TargetMode="External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13" Type="http://schemas.openxmlformats.org/officeDocument/2006/relationships/image" Target="../media/image91.png"/><Relationship Id="rId18" Type="http://schemas.openxmlformats.org/officeDocument/2006/relationships/image" Target="../media/image96.jpeg"/><Relationship Id="rId3" Type="http://schemas.openxmlformats.org/officeDocument/2006/relationships/image" Target="../media/image81.jpeg"/><Relationship Id="rId21" Type="http://schemas.openxmlformats.org/officeDocument/2006/relationships/image" Target="../media/image99.jpeg"/><Relationship Id="rId7" Type="http://schemas.openxmlformats.org/officeDocument/2006/relationships/image" Target="../media/image85.jpeg"/><Relationship Id="rId12" Type="http://schemas.openxmlformats.org/officeDocument/2006/relationships/image" Target="../media/image90.png"/><Relationship Id="rId17" Type="http://schemas.openxmlformats.org/officeDocument/2006/relationships/image" Target="../media/image95.png"/><Relationship Id="rId2" Type="http://schemas.openxmlformats.org/officeDocument/2006/relationships/image" Target="../media/image80.jpeg"/><Relationship Id="rId16" Type="http://schemas.openxmlformats.org/officeDocument/2006/relationships/image" Target="../media/image94.jpeg"/><Relationship Id="rId20" Type="http://schemas.openxmlformats.org/officeDocument/2006/relationships/image" Target="../media/image9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4.jpeg"/><Relationship Id="rId11" Type="http://schemas.openxmlformats.org/officeDocument/2006/relationships/image" Target="../media/image89.png"/><Relationship Id="rId5" Type="http://schemas.openxmlformats.org/officeDocument/2006/relationships/image" Target="../media/image83.jpeg"/><Relationship Id="rId15" Type="http://schemas.openxmlformats.org/officeDocument/2006/relationships/image" Target="../media/image93.jpeg"/><Relationship Id="rId10" Type="http://schemas.openxmlformats.org/officeDocument/2006/relationships/image" Target="../media/image88.png"/><Relationship Id="rId19" Type="http://schemas.openxmlformats.org/officeDocument/2006/relationships/image" Target="../media/image97.jpeg"/><Relationship Id="rId4" Type="http://schemas.openxmlformats.org/officeDocument/2006/relationships/image" Target="../media/image82.jpeg"/><Relationship Id="rId9" Type="http://schemas.openxmlformats.org/officeDocument/2006/relationships/image" Target="../media/image87.jpeg"/><Relationship Id="rId14" Type="http://schemas.openxmlformats.org/officeDocument/2006/relationships/image" Target="../media/image9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13" Type="http://schemas.openxmlformats.org/officeDocument/2006/relationships/image" Target="../media/image10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2.jpeg"/><Relationship Id="rId12" Type="http://schemas.openxmlformats.org/officeDocument/2006/relationships/image" Target="../media/image10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1.jpeg"/><Relationship Id="rId11" Type="http://schemas.openxmlformats.org/officeDocument/2006/relationships/image" Target="../media/image1.emf"/><Relationship Id="rId5" Type="http://schemas.openxmlformats.org/officeDocument/2006/relationships/image" Target="../media/image100.png"/><Relationship Id="rId10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g"/><Relationship Id="rId7" Type="http://schemas.openxmlformats.org/officeDocument/2006/relationships/image" Target="../media/image113.png"/><Relationship Id="rId2" Type="http://schemas.openxmlformats.org/officeDocument/2006/relationships/image" Target="../media/image110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jpeg"/><Relationship Id="rId5" Type="http://schemas.openxmlformats.org/officeDocument/2006/relationships/image" Target="../media/image112.jpeg"/><Relationship Id="rId4" Type="http://schemas.openxmlformats.org/officeDocument/2006/relationships/image" Target="../media/image7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2.sv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sv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2.svg"/><Relationship Id="rId5" Type="http://schemas.openxmlformats.org/officeDocument/2006/relationships/image" Target="../media/image119.png"/><Relationship Id="rId4" Type="http://schemas.openxmlformats.org/officeDocument/2006/relationships/image" Target="../media/image11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0.svg"/><Relationship Id="rId5" Type="http://schemas.openxmlformats.org/officeDocument/2006/relationships/image" Target="../media/image119.png"/><Relationship Id="rId4" Type="http://schemas.openxmlformats.org/officeDocument/2006/relationships/image" Target="../media/image120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sv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4.svg"/><Relationship Id="rId5" Type="http://schemas.openxmlformats.org/officeDocument/2006/relationships/image" Target="../media/image119.png"/><Relationship Id="rId4" Type="http://schemas.openxmlformats.org/officeDocument/2006/relationships/image" Target="../media/image1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svg"/><Relationship Id="rId5" Type="http://schemas.openxmlformats.org/officeDocument/2006/relationships/image" Target="../media/image123.png"/><Relationship Id="rId4" Type="http://schemas.openxmlformats.org/officeDocument/2006/relationships/image" Target="../media/image12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9.png"/><Relationship Id="rId4" Type="http://schemas.openxmlformats.org/officeDocument/2006/relationships/image" Target="../media/image124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NULL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9.png"/><Relationship Id="rId4" Type="http://schemas.openxmlformats.org/officeDocument/2006/relationships/image" Target="../media/image12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0.svg"/><Relationship Id="rId7" Type="http://schemas.openxmlformats.org/officeDocument/2006/relationships/image" Target="../media/image126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00.svg"/><Relationship Id="rId4" Type="http://schemas.openxmlformats.org/officeDocument/2006/relationships/image" Target="../media/image1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7.png"/><Relationship Id="rId4" Type="http://schemas.openxmlformats.org/officeDocument/2006/relationships/image" Target="../media/image11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mailto:vopros@prosv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" TargetMode="External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Relationship Id="rId5" Type="http://schemas.openxmlformats.org/officeDocument/2006/relationships/hyperlink" Target="mailto:OEAntonova@prosv.ru" TargetMode="External"/><Relationship Id="rId4" Type="http://schemas.openxmlformats.org/officeDocument/2006/relationships/image" Target="../media/image130.gi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cloud.prosv.ru/apps/onlyoffice/s/PX5YP76RZg8HwfF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3553" y="2672217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0050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1566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1" name="Freeform 39"/>
          <p:cNvSpPr>
            <a:spLocks noEditPoints="1"/>
          </p:cNvSpPr>
          <p:nvPr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636625" y="3005710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2" name="Freeform 50"/>
          <p:cNvSpPr>
            <a:spLocks noEditPoints="1"/>
          </p:cNvSpPr>
          <p:nvPr/>
        </p:nvSpPr>
        <p:spPr bwMode="auto">
          <a:xfrm>
            <a:off x="9543392" y="3005710"/>
            <a:ext cx="492485" cy="516260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9666515" y="3569995"/>
            <a:ext cx="246243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5728" y="4341768"/>
            <a:ext cx="11154631" cy="99719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новлённые ФГОС: обсуждаем, готовимся к </a:t>
            </a:r>
            <a:r>
              <a:rPr lang="ru-RU" sz="3600" b="1" dirty="0" smtClean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дрению</a:t>
            </a:r>
            <a:endParaRPr lang="ru-RU" sz="3600" b="1" dirty="0">
              <a:solidFill>
                <a:srgbClr val="2D2B8D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68" name="Rectangle 26"/>
          <p:cNvSpPr>
            <a:spLocks noChangeArrowheads="1"/>
          </p:cNvSpPr>
          <p:nvPr/>
        </p:nvSpPr>
        <p:spPr bwMode="auto">
          <a:xfrm>
            <a:off x="7573450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47"/>
          <p:cNvSpPr>
            <a:spLocks noEditPoints="1"/>
          </p:cNvSpPr>
          <p:nvPr/>
        </p:nvSpPr>
        <p:spPr bwMode="auto">
          <a:xfrm>
            <a:off x="3761951" y="31581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Rectangle 21"/>
          <p:cNvSpPr>
            <a:spLocks noChangeArrowheads="1"/>
          </p:cNvSpPr>
          <p:nvPr/>
        </p:nvSpPr>
        <p:spPr bwMode="auto">
          <a:xfrm>
            <a:off x="9045994" y="1430254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4" name="Freeform 47"/>
          <p:cNvSpPr>
            <a:spLocks noEditPoints="1"/>
          </p:cNvSpPr>
          <p:nvPr/>
        </p:nvSpPr>
        <p:spPr bwMode="auto">
          <a:xfrm>
            <a:off x="9523138" y="1789685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16182" y="2272002"/>
            <a:ext cx="9144000" cy="1655762"/>
          </a:xfrm>
        </p:spPr>
        <p:txBody>
          <a:bodyPr/>
          <a:lstStyle/>
          <a:p>
            <a:pPr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 – 2021: общесистемные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требования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 условиям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еализации и их обеспечение</a:t>
            </a:r>
            <a:endParaRPr lang="ru-RU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912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4711337" y="1578774"/>
            <a:ext cx="6961147" cy="37240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достижение </a:t>
            </a:r>
            <a:r>
              <a:rPr lang="ru-RU" sz="1400" dirty="0">
                <a:ea typeface="Yu Gothic UI Light" panose="020B0300000000000000" pitchFamily="34" charset="-128"/>
              </a:rPr>
              <a:t>планируемых результатов</a:t>
            </a:r>
            <a:r>
              <a:rPr lang="ru-RU" sz="1400" dirty="0" smtClean="0">
                <a:ea typeface="Yu Gothic UI Light" panose="020B0300000000000000" pitchFamily="34" charset="-128"/>
              </a:rPr>
              <a:t>;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развитие </a:t>
            </a:r>
            <a:r>
              <a:rPr lang="ru-RU" sz="1400" dirty="0">
                <a:ea typeface="Yu Gothic UI Light" panose="020B0300000000000000" pitchFamily="34" charset="-128"/>
              </a:rPr>
              <a:t>личности (в том числе </a:t>
            </a:r>
            <a:r>
              <a:rPr lang="ru-RU" sz="1400" dirty="0" err="1" smtClean="0">
                <a:ea typeface="Yu Gothic UI Light" panose="020B0300000000000000" pitchFamily="34" charset="-128"/>
              </a:rPr>
              <a:t>предпрофильное</a:t>
            </a:r>
            <a:r>
              <a:rPr lang="ru-RU" sz="1400" dirty="0" smtClean="0">
                <a:ea typeface="Yu Gothic UI Light" panose="020B0300000000000000" pitchFamily="34" charset="-128"/>
              </a:rPr>
              <a:t> образование</a:t>
            </a:r>
            <a:r>
              <a:rPr lang="ru-RU" sz="1400" dirty="0">
                <a:ea typeface="Yu Gothic UI Light" panose="020B0300000000000000" pitchFamily="34" charset="-128"/>
              </a:rPr>
              <a:t>); </a:t>
            </a:r>
            <a:r>
              <a:rPr lang="ru-RU" sz="1400" dirty="0" smtClean="0">
                <a:ea typeface="Yu Gothic UI Light" panose="020B0300000000000000" pitchFamily="34" charset="-128"/>
              </a:rPr>
              <a:t/>
            </a:r>
            <a:br>
              <a:rPr lang="ru-RU" sz="1400" dirty="0" smtClean="0">
                <a:ea typeface="Yu Gothic UI Light" panose="020B0300000000000000" pitchFamily="34" charset="-128"/>
              </a:rPr>
            </a:br>
            <a:r>
              <a:rPr lang="ru-RU" sz="1400" dirty="0" smtClean="0">
                <a:ea typeface="Yu Gothic UI Light" panose="020B0300000000000000" pitchFamily="34" charset="-128"/>
              </a:rPr>
              <a:t>ранняя </a:t>
            </a:r>
            <a:r>
              <a:rPr lang="ru-RU" sz="1400" dirty="0">
                <a:ea typeface="Yu Gothic UI Light" panose="020B0300000000000000" pitchFamily="34" charset="-128"/>
              </a:rPr>
              <a:t>профориентация</a:t>
            </a:r>
            <a:r>
              <a:rPr lang="ru-RU" sz="1400" dirty="0" smtClean="0">
                <a:ea typeface="Yu Gothic UI Light" panose="020B0300000000000000" pitchFamily="34" charset="-128"/>
              </a:rPr>
              <a:t>;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400" dirty="0">
                <a:ea typeface="Yu Gothic UI Light" panose="020B0300000000000000" pitchFamily="34" charset="-128"/>
              </a:rPr>
              <a:t>функциональной грамотности</a:t>
            </a:r>
            <a:r>
              <a:rPr lang="ru-RU" sz="1400" dirty="0" smtClean="0">
                <a:ea typeface="Yu Gothic UI Light" panose="020B0300000000000000" pitchFamily="34" charset="-128"/>
              </a:rPr>
              <a:t>;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формирование социокультурных и духовно-нравственных ценностей обучающихся, основ их гражданственности, российской гражданской идентичности;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включение </a:t>
            </a:r>
            <a:r>
              <a:rPr lang="ru-RU" sz="1400" dirty="0">
                <a:ea typeface="Yu Gothic UI Light" panose="020B0300000000000000" pitchFamily="34" charset="-128"/>
              </a:rPr>
              <a:t>обучающихся в процессы </a:t>
            </a:r>
            <a:r>
              <a:rPr lang="ru-RU" sz="1400" dirty="0" smtClean="0">
                <a:ea typeface="Yu Gothic UI Light" panose="020B0300000000000000" pitchFamily="34" charset="-128"/>
              </a:rPr>
              <a:t>преобразования внешней </a:t>
            </a:r>
            <a:r>
              <a:rPr lang="ru-RU" sz="1400" dirty="0">
                <a:ea typeface="Yu Gothic UI Light" panose="020B0300000000000000" pitchFamily="34" charset="-128"/>
              </a:rPr>
              <a:t>социальной среды (социальные проекты </a:t>
            </a:r>
            <a:r>
              <a:rPr lang="ru-RU" sz="1400" dirty="0" smtClean="0">
                <a:ea typeface="Yu Gothic UI Light" panose="020B0300000000000000" pitchFamily="34" charset="-128"/>
              </a:rPr>
              <a:t>и программы); формирование лидерских качеств, опыта социальной деятельности, в </a:t>
            </a:r>
            <a:r>
              <a:rPr lang="ru-RU" sz="1400" dirty="0" err="1" smtClean="0">
                <a:ea typeface="Yu Gothic UI Light" panose="020B0300000000000000" pitchFamily="34" charset="-128"/>
              </a:rPr>
              <a:t>т.ч</a:t>
            </a:r>
            <a:r>
              <a:rPr lang="ru-RU" sz="1400" dirty="0" smtClean="0">
                <a:ea typeface="Yu Gothic UI Light" panose="020B0300000000000000" pitchFamily="34" charset="-128"/>
              </a:rPr>
              <a:t>. волонтёров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400" dirty="0">
                <a:ea typeface="Yu Gothic UI Light" panose="020B0300000000000000" pitchFamily="34" charset="-128"/>
              </a:rPr>
              <a:t>у обучающихся опыта </a:t>
            </a:r>
            <a:r>
              <a:rPr lang="ru-RU" sz="1400" dirty="0" smtClean="0">
                <a:ea typeface="Yu Gothic UI Light" panose="020B0300000000000000" pitchFamily="34" charset="-128"/>
              </a:rPr>
              <a:t>самостоятельной деятельности</a:t>
            </a:r>
            <a:r>
              <a:rPr lang="ru-RU" sz="1400" dirty="0">
                <a:ea typeface="Yu Gothic UI Light" panose="020B0300000000000000" pitchFamily="34" charset="-128"/>
              </a:rPr>
              <a:t>: проектной, </a:t>
            </a:r>
            <a:r>
              <a:rPr lang="ru-RU" sz="1400" dirty="0" smtClean="0">
                <a:ea typeface="Yu Gothic UI Light" panose="020B0300000000000000" pitchFamily="34" charset="-128"/>
              </a:rPr>
              <a:t>учебно-исследовательской, творческой</a:t>
            </a:r>
            <a:r>
              <a:rPr lang="ru-RU" sz="1400" dirty="0">
                <a:ea typeface="Yu Gothic UI Light" panose="020B0300000000000000" pitchFamily="34" charset="-128"/>
              </a:rPr>
              <a:t>, спортивной</a:t>
            </a:r>
            <a:r>
              <a:rPr lang="ru-RU" sz="1400" dirty="0" smtClean="0">
                <a:ea typeface="Yu Gothic UI Light" panose="020B0300000000000000" pitchFamily="34" charset="-128"/>
              </a:rPr>
              <a:t>;</a:t>
            </a:r>
            <a:endParaRPr lang="ru-RU" sz="14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400" dirty="0">
                <a:ea typeface="Yu Gothic UI Light" panose="020B0300000000000000" pitchFamily="34" charset="-128"/>
              </a:rPr>
              <a:t>экологической </a:t>
            </a:r>
            <a:r>
              <a:rPr lang="ru-RU" sz="1400" dirty="0" smtClean="0">
                <a:ea typeface="Yu Gothic UI Light" panose="020B0300000000000000" pitchFamily="34" charset="-128"/>
              </a:rPr>
              <a:t>грамотности, навыков здорового и безопасного для человека и окружающей его среды образа жизни</a:t>
            </a:r>
            <a:endParaRPr lang="ru-RU" sz="1400" dirty="0">
              <a:ea typeface="Yu Gothic UI Light" panose="020B0300000000000000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81508" y="194745"/>
            <a:ext cx="9256058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акие возможности для перехода на обновлённые ФГОС должна обеспечить образовательная организация ?</a:t>
            </a:r>
            <a:endParaRPr lang="ru-RU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486549" y="2254425"/>
            <a:ext cx="3586352" cy="2851151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67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Прямоугольник 122"/>
          <p:cNvSpPr/>
          <p:nvPr/>
        </p:nvSpPr>
        <p:spPr>
          <a:xfrm>
            <a:off x="371304" y="2345721"/>
            <a:ext cx="3891911" cy="3484143"/>
          </a:xfrm>
          <a:prstGeom prst="rect">
            <a:avLst/>
          </a:prstGeom>
          <a:solidFill>
            <a:srgbClr val="EFF5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CrisscrossEtching/>
                    </a14:imgEffect>
                    <a14:imgEffect>
                      <a14:colorTemperature colorTemp="47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36" y="2191547"/>
            <a:ext cx="843232" cy="11710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62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865922" y="118775"/>
            <a:ext cx="9813048" cy="5604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одернизация </a:t>
            </a: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оспитательной системы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школ – одно из ключевых требований к условиям </a:t>
            </a: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реализации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ГОС</a:t>
            </a:r>
            <a:endParaRPr lang="ru-RU" sz="2133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5516364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56687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grpSp>
        <p:nvGrpSpPr>
          <p:cNvPr id="105" name="Группа 104"/>
          <p:cNvGrpSpPr/>
          <p:nvPr/>
        </p:nvGrpSpPr>
        <p:grpSpPr>
          <a:xfrm>
            <a:off x="240697" y="194745"/>
            <a:ext cx="1198424" cy="438775"/>
            <a:chOff x="254665" y="195486"/>
            <a:chExt cx="951720" cy="329081"/>
          </a:xfrm>
        </p:grpSpPr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20" name="Прямая соединительная линия 11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371304" y="5889890"/>
            <a:ext cx="3891912" cy="441576"/>
          </a:xfrm>
          <a:prstGeom prst="rect">
            <a:avLst/>
          </a:prstGeom>
          <a:solidFill>
            <a:srgbClr val="EFF5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297964" y="5948362"/>
            <a:ext cx="2053398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415215" y="5889890"/>
            <a:ext cx="3570952" cy="441576"/>
          </a:xfrm>
          <a:prstGeom prst="rect">
            <a:avLst/>
          </a:prstGeom>
          <a:solidFill>
            <a:srgbClr val="FFFA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5118280" y="5948362"/>
            <a:ext cx="2232767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Цифровые сервисы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27057" y="4178860"/>
            <a:ext cx="328683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ик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П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ы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собия для внеурочной деятель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ые пособия для профильного обучен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учающие пособия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415215" y="2374879"/>
            <a:ext cx="3570952" cy="3454985"/>
          </a:xfrm>
          <a:prstGeom prst="rect">
            <a:avLst/>
          </a:prstGeom>
          <a:solidFill>
            <a:srgbClr val="FFF0C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8186629" y="5883446"/>
            <a:ext cx="3390172" cy="4415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8163120" y="2374878"/>
            <a:ext cx="3413681" cy="34549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7" name="TextBox 66"/>
          <p:cNvSpPr txBox="1"/>
          <p:nvPr/>
        </p:nvSpPr>
        <p:spPr>
          <a:xfrm>
            <a:off x="8345079" y="5948362"/>
            <a:ext cx="3059084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Учебное оборудова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92169" y="2026801"/>
            <a:ext cx="3256837" cy="2129935"/>
          </a:xfrm>
          <a:prstGeom prst="rect">
            <a:avLst/>
          </a:prstGeom>
        </p:spPr>
      </p:pic>
      <p:sp>
        <p:nvSpPr>
          <p:cNvPr id="68" name="Прямоугольник 67"/>
          <p:cNvSpPr/>
          <p:nvPr/>
        </p:nvSpPr>
        <p:spPr>
          <a:xfrm>
            <a:off x="137987" y="1056463"/>
            <a:ext cx="11984883" cy="831121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9" name="TextBox 68"/>
          <p:cNvSpPr txBox="1"/>
          <p:nvPr/>
        </p:nvSpPr>
        <p:spPr>
          <a:xfrm>
            <a:off x="1882677" y="1181072"/>
            <a:ext cx="9833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Комплексное предложение ГК «Просвещение» для обеспечения достижения личностных результатов</a:t>
            </a:r>
            <a:endParaRPr lang="ru-RU" sz="16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0" y="1022316"/>
            <a:ext cx="1865921" cy="873992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73" name="Объект 2"/>
          <p:cNvSpPr txBox="1">
            <a:spLocks/>
          </p:cNvSpPr>
          <p:nvPr/>
        </p:nvSpPr>
        <p:spPr>
          <a:xfrm>
            <a:off x="4426401" y="4178860"/>
            <a:ext cx="3517843" cy="12162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оздан с учетом требований ФГОС-2021</a:t>
            </a:r>
          </a:p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итывает положения Примерной программы воспитания</a:t>
            </a:r>
          </a:p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дульный принцип проектирования воспитательного процесса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1400" spc="-20" dirty="0">
              <a:solidFill>
                <a:srgbClr val="2D2B8D"/>
              </a:solidFill>
              <a:latin typeface="+mj-lt"/>
              <a:ea typeface="Open Sans Condensed Light" pitchFamily="34" charset="0"/>
              <a:cs typeface="Open Sans Condensed Light" pitchFamily="34" charset="0"/>
            </a:endParaRPr>
          </a:p>
        </p:txBody>
      </p:sp>
      <p:pic>
        <p:nvPicPr>
          <p:cNvPr id="80" name="Picture 2" descr="Изображение Школа волонтёра. 5-7 классы. Учебное пособие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066" y="2812611"/>
            <a:ext cx="847301" cy="110049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110" y="2186908"/>
            <a:ext cx="852301" cy="11455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402" y="2793254"/>
            <a:ext cx="801029" cy="1123594"/>
          </a:xfrm>
          <a:prstGeom prst="rect">
            <a:avLst/>
          </a:prstGeom>
        </p:spPr>
      </p:pic>
      <p:pic>
        <p:nvPicPr>
          <p:cNvPr id="85" name="Picture 2" descr="Изображение Информационная безопасность или на расстоянии одного вируса. 7-9 классы.  (совместно с Лабораторией Касперского)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5238" y="2172942"/>
            <a:ext cx="813500" cy="108335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Рисунок 8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145" y="2796632"/>
            <a:ext cx="845405" cy="1132455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999" y="2841421"/>
            <a:ext cx="831769" cy="11362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88" name="TextBox 87"/>
          <p:cNvSpPr txBox="1"/>
          <p:nvPr/>
        </p:nvSpPr>
        <p:spPr>
          <a:xfrm>
            <a:off x="8258265" y="4178860"/>
            <a:ext cx="31916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разовательная инфраструктура с применением инновационных  решений мирового уровня</a:t>
            </a:r>
          </a:p>
          <a:p>
            <a:pPr lvl="0" algn="ctr"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89" name="Рисунок 8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7339" y="2166987"/>
            <a:ext cx="2814564" cy="17872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01306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2"/>
          <a:srcRect l="40555" t="15136" r="25667" b="4864"/>
          <a:stretch/>
        </p:blipFill>
        <p:spPr>
          <a:xfrm>
            <a:off x="3544357" y="4926275"/>
            <a:ext cx="1250745" cy="1686053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70658" name="Picture 2" descr="Литературное чтение на русском родном языке. 1 класс. Учебник для общеобразовательных организаций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4292" y="4645486"/>
            <a:ext cx="1300125" cy="170576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" y="1032065"/>
            <a:ext cx="1218985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81507" y="144930"/>
            <a:ext cx="10029387" cy="565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5000"/>
              </a:lnSpc>
              <a:defRPr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dirty="0" smtClean="0"/>
              <a:t>Учебно-методическое обеспечение для достижения личностных результатов </a:t>
            </a:r>
            <a:endParaRPr lang="en-US" dirty="0" smtClean="0"/>
          </a:p>
          <a:p>
            <a:r>
              <a:rPr lang="ru-RU" dirty="0" smtClean="0"/>
              <a:t>Начальная </a:t>
            </a:r>
            <a:r>
              <a:rPr lang="ru-RU" dirty="0"/>
              <a:t>школа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956587" y="1085677"/>
            <a:ext cx="951939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ное развитие: гражданское, патриотическое, духовно – нравственное, эстетическое, физическое, трудовое, экологическое, ценность научного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ознания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087" y="2074998"/>
            <a:ext cx="1294535" cy="1733114"/>
          </a:xfrm>
          <a:prstGeom prst="rect">
            <a:avLst/>
          </a:prstGeom>
          <a:noFill/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36" y="1798055"/>
            <a:ext cx="1294534" cy="1733115"/>
          </a:xfrm>
          <a:prstGeom prst="rect">
            <a:avLst/>
          </a:prstGeom>
          <a:noFill/>
          <a:ln w="6350"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sp>
        <p:nvSpPr>
          <p:cNvPr id="38" name="Прямоугольник 37"/>
          <p:cNvSpPr/>
          <p:nvPr/>
        </p:nvSpPr>
        <p:spPr>
          <a:xfrm>
            <a:off x="199368" y="3919735"/>
            <a:ext cx="25425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dirty="0"/>
              <a:t>ФП № 1.1.1.4.1.15.1 – 1.1.1.4.1.15.4</a:t>
            </a:r>
          </a:p>
          <a:p>
            <a:pPr algn="ctr" fontAlgn="t"/>
            <a:r>
              <a:rPr lang="ru-RU" sz="1200" dirty="0" smtClean="0"/>
              <a:t>Е.А. Найденова</a:t>
            </a:r>
            <a:r>
              <a:rPr lang="ru-RU" sz="1200" dirty="0"/>
              <a:t>, О.Н</a:t>
            </a:r>
            <a:r>
              <a:rPr lang="ru-RU" sz="1200" dirty="0" smtClean="0"/>
              <a:t>. Журавлева </a:t>
            </a:r>
            <a:r>
              <a:rPr lang="en-US" sz="1200" dirty="0" smtClean="0"/>
              <a:t> </a:t>
            </a:r>
            <a:endParaRPr lang="ru-RU" sz="1200" dirty="0" smtClean="0"/>
          </a:p>
          <a:p>
            <a:pPr algn="ctr" fontAlgn="t"/>
            <a:r>
              <a:rPr lang="ru-RU" sz="1200" dirty="0" smtClean="0"/>
              <a:t>под </a:t>
            </a:r>
            <a:r>
              <a:rPr lang="ru-RU" sz="1200" dirty="0"/>
              <a:t>ред. В.А</a:t>
            </a:r>
            <a:r>
              <a:rPr lang="ru-RU" sz="1200" dirty="0" smtClean="0"/>
              <a:t>. Тишкова</a:t>
            </a:r>
            <a:endParaRPr lang="ru-RU" sz="1200" spc="-30" dirty="0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341" y="4637156"/>
            <a:ext cx="1411154" cy="18715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376" y="1842458"/>
            <a:ext cx="1355589" cy="1762409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2802989" y="3900740"/>
            <a:ext cx="26489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dirty="0"/>
              <a:t>ФП № 1.2.1.1.1.22.1 -</a:t>
            </a:r>
            <a:r>
              <a:rPr lang="ru-RU" sz="1200" dirty="0" smtClean="0"/>
              <a:t>1.2.1.1.1.22.4</a:t>
            </a:r>
          </a:p>
          <a:p>
            <a:pPr algn="ctr">
              <a:lnSpc>
                <a:spcPct val="80000"/>
              </a:lnSpc>
            </a:pPr>
            <a:r>
              <a:rPr lang="ru-RU" sz="1200" dirty="0" smtClean="0"/>
              <a:t>Александрова </a:t>
            </a:r>
            <a:r>
              <a:rPr lang="ru-RU" sz="1200" dirty="0"/>
              <a:t>О.М., Вербицкая Л.А., </a:t>
            </a:r>
            <a:endParaRPr lang="ru-RU" sz="1200" dirty="0" smtClean="0"/>
          </a:p>
          <a:p>
            <a:pPr algn="ctr">
              <a:lnSpc>
                <a:spcPct val="80000"/>
              </a:lnSpc>
            </a:pPr>
            <a:r>
              <a:rPr lang="ru-RU" sz="1200" dirty="0" smtClean="0"/>
              <a:t>Богданов </a:t>
            </a:r>
            <a:r>
              <a:rPr lang="ru-RU" sz="1200" dirty="0"/>
              <a:t>С.И., </a:t>
            </a:r>
            <a:r>
              <a:rPr lang="ru-RU" sz="1200" dirty="0" smtClean="0"/>
              <a:t>Казакова </a:t>
            </a:r>
            <a:r>
              <a:rPr lang="ru-RU" sz="1200" dirty="0"/>
              <a:t>Е.И., </a:t>
            </a:r>
            <a:endParaRPr lang="ru-RU" sz="1200" dirty="0" smtClean="0"/>
          </a:p>
          <a:p>
            <a:pPr algn="ctr">
              <a:lnSpc>
                <a:spcPct val="80000"/>
              </a:lnSpc>
            </a:pPr>
            <a:r>
              <a:rPr lang="ru-RU" sz="1200" dirty="0" smtClean="0"/>
              <a:t>Кузнецова </a:t>
            </a:r>
            <a:r>
              <a:rPr lang="ru-RU" sz="1200" dirty="0"/>
              <a:t>М.И., </a:t>
            </a:r>
            <a:r>
              <a:rPr lang="ru-RU" sz="1200" dirty="0" err="1" smtClean="0"/>
              <a:t>Петленко</a:t>
            </a:r>
            <a:r>
              <a:rPr lang="ru-RU" sz="1200" dirty="0" smtClean="0"/>
              <a:t> </a:t>
            </a:r>
            <a:r>
              <a:rPr lang="ru-RU" sz="1200" dirty="0"/>
              <a:t>Л.В.</a:t>
            </a:r>
          </a:p>
          <a:p>
            <a:pPr algn="ctr">
              <a:lnSpc>
                <a:spcPct val="80000"/>
              </a:lnSpc>
            </a:pPr>
            <a:endParaRPr lang="ru-RU" sz="1200" dirty="0"/>
          </a:p>
        </p:txBody>
      </p:sp>
      <p:pic>
        <p:nvPicPr>
          <p:cNvPr id="41" name="Picture 4" descr="Изображение Русский родной язык. 4 класс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41" y="2111802"/>
            <a:ext cx="1293645" cy="1743883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  <a:extLst/>
        </p:spPr>
      </p:pic>
      <p:sp>
        <p:nvSpPr>
          <p:cNvPr id="47" name="Прямоугольник 46"/>
          <p:cNvSpPr/>
          <p:nvPr/>
        </p:nvSpPr>
        <p:spPr>
          <a:xfrm>
            <a:off x="5205657" y="3912548"/>
            <a:ext cx="2934014" cy="391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dirty="0"/>
              <a:t>ФП № </a:t>
            </a:r>
            <a:r>
              <a:rPr lang="ru-RU" sz="1200" dirty="0" smtClean="0"/>
              <a:t>1.1.1.4.2.1.1 - 1.1.1.4.2.1.4</a:t>
            </a:r>
          </a:p>
          <a:p>
            <a:pPr algn="ctr">
              <a:lnSpc>
                <a:spcPct val="80000"/>
              </a:lnSpc>
            </a:pPr>
            <a:r>
              <a:rPr lang="ru-RU" sz="1200" dirty="0"/>
              <a:t>Т. В. </a:t>
            </a:r>
            <a:r>
              <a:rPr lang="ru-RU" sz="1200" dirty="0" err="1"/>
              <a:t>Шпотова</a:t>
            </a:r>
            <a:r>
              <a:rPr lang="ru-RU" sz="1200" dirty="0"/>
              <a:t>, И. Г. </a:t>
            </a:r>
            <a:r>
              <a:rPr lang="ru-RU" sz="1200" dirty="0" smtClean="0"/>
              <a:t>Харитонова</a:t>
            </a:r>
            <a:endParaRPr lang="ru-RU" sz="1200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752" y="1948194"/>
            <a:ext cx="1397870" cy="188901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4" name="Прямоугольник 3"/>
          <p:cNvSpPr/>
          <p:nvPr/>
        </p:nvSpPr>
        <p:spPr>
          <a:xfrm>
            <a:off x="7874922" y="3893481"/>
            <a:ext cx="22659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ru-RU" sz="1200" dirty="0"/>
              <a:t>ФП №</a:t>
            </a:r>
            <a:r>
              <a:rPr lang="ru-RU" sz="1200" dirty="0" smtClean="0"/>
              <a:t>1.1.1.5.1.12.1</a:t>
            </a:r>
          </a:p>
          <a:p>
            <a:pPr algn="ctr" fontAlgn="t"/>
            <a:r>
              <a:rPr lang="ru-RU" sz="1200" dirty="0"/>
              <a:t>Н.Л. Селиванов, </a:t>
            </a:r>
            <a:r>
              <a:rPr lang="ru-RU" sz="1200" dirty="0" err="1"/>
              <a:t>Т.В.Селиванова</a:t>
            </a:r>
            <a:endParaRPr lang="ru-RU" sz="1200" dirty="0"/>
          </a:p>
          <a:p>
            <a:pPr algn="ctr" fontAlgn="t"/>
            <a:endParaRPr lang="ru-RU" sz="1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937016" y="6315515"/>
            <a:ext cx="25998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ru-RU" sz="1200" dirty="0"/>
              <a:t>ФП №</a:t>
            </a:r>
            <a:r>
              <a:rPr lang="ru-RU" sz="1200" dirty="0" smtClean="0"/>
              <a:t>1.1.1.8.1.10.1</a:t>
            </a:r>
          </a:p>
          <a:p>
            <a:pPr algn="ctr" fontAlgn="t"/>
            <a:r>
              <a:rPr lang="ru-RU" sz="1200" dirty="0"/>
              <a:t>Г. </a:t>
            </a:r>
            <a:r>
              <a:rPr lang="ru-RU" sz="1200" dirty="0" err="1"/>
              <a:t>И.Погадаев</a:t>
            </a:r>
            <a:r>
              <a:rPr lang="ru-RU" sz="1200" dirty="0"/>
              <a:t>; под ред. </a:t>
            </a:r>
            <a:r>
              <a:rPr lang="ru-RU" sz="1200" dirty="0" err="1"/>
              <a:t>И.Акинфеева</a:t>
            </a:r>
            <a:endParaRPr lang="ru-RU" sz="1200" dirty="0"/>
          </a:p>
          <a:p>
            <a:pPr algn="ctr" fontAlgn="t"/>
            <a:endParaRPr lang="ru-RU" sz="1200" dirty="0"/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/>
          <a:srcRect l="26330" t="20000" r="45064" b="11965"/>
          <a:stretch/>
        </p:blipFill>
        <p:spPr>
          <a:xfrm>
            <a:off x="6365854" y="2221737"/>
            <a:ext cx="1227726" cy="164795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371" y="1899884"/>
            <a:ext cx="1227725" cy="164795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657" y="4566066"/>
            <a:ext cx="1946162" cy="15457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Picture 2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3076" y="4566066"/>
            <a:ext cx="1199852" cy="16920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6" name="Прямоугольник 55"/>
          <p:cNvSpPr/>
          <p:nvPr/>
        </p:nvSpPr>
        <p:spPr>
          <a:xfrm>
            <a:off x="8342751" y="6277881"/>
            <a:ext cx="22289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dirty="0"/>
              <a:t>ФП 1.1.1.8.1.2.1</a:t>
            </a:r>
          </a:p>
          <a:p>
            <a:pPr algn="ctr" fontAlgn="t"/>
            <a:r>
              <a:rPr lang="ru-RU" sz="1200" dirty="0"/>
              <a:t>Под ред. И.А. Винер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228470" y="3877473"/>
            <a:ext cx="18750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sz="1200" dirty="0"/>
              <a:t>ФП </a:t>
            </a:r>
            <a:r>
              <a:rPr lang="ru-RU" sz="1200" dirty="0" smtClean="0"/>
              <a:t>№ 1.1.1.3.2.3.1</a:t>
            </a:r>
          </a:p>
          <a:p>
            <a:pPr fontAlgn="ctr"/>
            <a:r>
              <a:rPr lang="ru-RU" sz="1200" dirty="0" smtClean="0">
                <a:sym typeface="Arial"/>
              </a:rPr>
              <a:t>Под ред. Цветковой М.С.</a:t>
            </a:r>
            <a:endParaRPr lang="ru-RU" sz="1200" dirty="0">
              <a:sym typeface="Arial"/>
            </a:endParaRPr>
          </a:p>
        </p:txBody>
      </p:sp>
      <p:pic>
        <p:nvPicPr>
          <p:cNvPr id="58" name="Picture 2" descr="Изображение Информационная безопасность. Правила безопасного Интернета. 2–4 класс. Учебник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0721" y="1958479"/>
            <a:ext cx="1359515" cy="1878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61" descr="C:\Users\OPodymova\Desktop\Новая папка (3)\Cover_1-4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269" y="4566066"/>
            <a:ext cx="1359625" cy="18943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46808" y="6579803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4199" y="4558835"/>
            <a:ext cx="1238559" cy="174530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323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Рисунок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642" y="2229759"/>
            <a:ext cx="1181596" cy="1562258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  <a:effectLst/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33" y="2322122"/>
            <a:ext cx="1104030" cy="1444517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67" name="Picture 4" descr="Изображение Родная русская литература. 9 кл. Учебное пособие для общеобразовательных организаций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045" y="5123202"/>
            <a:ext cx="1120528" cy="151051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571" y="2354473"/>
            <a:ext cx="1100441" cy="1440088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12" name="Прямоугольник 11"/>
          <p:cNvSpPr/>
          <p:nvPr/>
        </p:nvSpPr>
        <p:spPr>
          <a:xfrm>
            <a:off x="1" y="1032065"/>
            <a:ext cx="1218985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81507" y="194745"/>
            <a:ext cx="10029387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о-методическое обеспечение для достижения личностных результатов </a:t>
            </a:r>
            <a:endParaRPr lang="ru-RU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ная школа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956587" y="1085677"/>
            <a:ext cx="951939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ное развитие: гражданское, патриотическое, духовно – нравственное, эстетическое, физическое, трудовое, экологическое, ценность научного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ознания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99368" y="3919735"/>
            <a:ext cx="25425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dirty="0"/>
              <a:t>ФП № 2.1.2.2.1.5.1 - </a:t>
            </a:r>
            <a:r>
              <a:rPr lang="ru-RU" sz="1200" dirty="0" smtClean="0"/>
              <a:t>2.1.2.2.1.5.2</a:t>
            </a:r>
          </a:p>
          <a:p>
            <a:pPr algn="ctr" fontAlgn="t"/>
            <a:r>
              <a:rPr lang="ru-RU" sz="1200" dirty="0"/>
              <a:t>Н.Ф. Виноградова, Т.Э. </a:t>
            </a:r>
            <a:r>
              <a:rPr lang="ru-RU" sz="1200" dirty="0" err="1" smtClean="0"/>
              <a:t>Мариносян</a:t>
            </a:r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17223" y="3863948"/>
            <a:ext cx="2856404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dirty="0"/>
              <a:t>ФП № 1.2.2.1.1.12.1 -</a:t>
            </a:r>
            <a:r>
              <a:rPr lang="ru-RU" sz="1200" dirty="0" smtClean="0"/>
              <a:t>1.2.2.1.1.12.5</a:t>
            </a:r>
          </a:p>
          <a:p>
            <a:pPr algn="ctr">
              <a:lnSpc>
                <a:spcPct val="80000"/>
              </a:lnSpc>
            </a:pPr>
            <a:r>
              <a:rPr lang="ru-RU" sz="1200" dirty="0"/>
              <a:t>Александрова О.М., Загоровская О.В., Богданов С.И., Вербицкая Л.А., </a:t>
            </a:r>
            <a:r>
              <a:rPr lang="ru-RU" sz="1200" dirty="0" err="1"/>
              <a:t>Гостева</a:t>
            </a:r>
            <a:r>
              <a:rPr lang="ru-RU" sz="1200" dirty="0"/>
              <a:t> Ю.Н., </a:t>
            </a:r>
            <a:r>
              <a:rPr lang="ru-RU" sz="1200" dirty="0" err="1"/>
              <a:t>Добротина</a:t>
            </a:r>
            <a:r>
              <a:rPr lang="ru-RU" sz="1200" dirty="0"/>
              <a:t> И.Н., </a:t>
            </a:r>
            <a:r>
              <a:rPr lang="ru-RU" sz="1200" dirty="0" err="1"/>
              <a:t>Нарушевич</a:t>
            </a:r>
            <a:r>
              <a:rPr lang="ru-RU" sz="1200" dirty="0"/>
              <a:t> А.Г., Казакова Е.И., Васильевых И.П.</a:t>
            </a:r>
          </a:p>
          <a:p>
            <a:pPr algn="ctr">
              <a:lnSpc>
                <a:spcPct val="80000"/>
              </a:lnSpc>
            </a:pPr>
            <a:endParaRPr lang="ru-RU" sz="12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5205657" y="3912548"/>
            <a:ext cx="2934014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dirty="0"/>
              <a:t>ФП № 2.1.2.4.1.7.1 - 2.1.2.4.1.7.5 </a:t>
            </a:r>
            <a:endParaRPr lang="ru-RU" sz="1200" dirty="0" smtClean="0"/>
          </a:p>
          <a:p>
            <a:pPr algn="ctr">
              <a:lnSpc>
                <a:spcPct val="80000"/>
              </a:lnSpc>
            </a:pPr>
            <a:r>
              <a:rPr lang="ru-RU" sz="1200" dirty="0"/>
              <a:t>Алексашина И.Ю, Лагутенко О.И.</a:t>
            </a:r>
          </a:p>
          <a:p>
            <a:pPr algn="ctr">
              <a:lnSpc>
                <a:spcPct val="80000"/>
              </a:lnSpc>
            </a:pPr>
            <a:r>
              <a:rPr lang="ru-RU" sz="1200" dirty="0"/>
              <a:t>Хомутова И.В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780884" y="3897195"/>
            <a:ext cx="24749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dirty="0"/>
              <a:t>ФП </a:t>
            </a:r>
            <a:r>
              <a:rPr lang="ru-RU" sz="1200" dirty="0" smtClean="0"/>
              <a:t>№</a:t>
            </a:r>
            <a:r>
              <a:rPr lang="ru-RU" sz="1200" dirty="0"/>
              <a:t> ФП </a:t>
            </a:r>
            <a:r>
              <a:rPr lang="ru-RU" sz="1200" dirty="0" smtClean="0"/>
              <a:t>2.1.2.1.5.1.1</a:t>
            </a:r>
            <a:r>
              <a:rPr lang="en-US" sz="1200" dirty="0"/>
              <a:t>; </a:t>
            </a:r>
            <a:r>
              <a:rPr lang="en-US" sz="1200" dirty="0" smtClean="0"/>
              <a:t>2.1.2.1.5.1.2</a:t>
            </a:r>
            <a:endParaRPr lang="ru-RU" sz="1200" dirty="0" smtClean="0"/>
          </a:p>
          <a:p>
            <a:pPr algn="ctr" fontAlgn="t"/>
            <a:r>
              <a:rPr lang="ru-RU" sz="1200" dirty="0"/>
              <a:t>Арсеньева Т.Н., </a:t>
            </a:r>
            <a:r>
              <a:rPr lang="ru-RU" sz="1200" dirty="0" smtClean="0"/>
              <a:t>Коршунов </a:t>
            </a:r>
            <a:r>
              <a:rPr lang="ru-RU" sz="1200" dirty="0"/>
              <a:t>А.В., </a:t>
            </a:r>
          </a:p>
          <a:p>
            <a:pPr algn="ctr" fontAlgn="t"/>
            <a:r>
              <a:rPr lang="ru-RU" sz="1200" dirty="0"/>
              <a:t>Соколов А.А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937016" y="6315515"/>
            <a:ext cx="25998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ru-RU" sz="1200" dirty="0"/>
              <a:t>ФП № 1.1.2.8.1.5.1</a:t>
            </a:r>
          </a:p>
          <a:p>
            <a:pPr algn="ctr" fontAlgn="t"/>
            <a:r>
              <a:rPr lang="ru-RU" sz="1200" dirty="0" smtClean="0"/>
              <a:t>Г</a:t>
            </a:r>
            <a:r>
              <a:rPr lang="ru-RU" sz="1200" dirty="0"/>
              <a:t>. </a:t>
            </a:r>
            <a:r>
              <a:rPr lang="ru-RU" sz="1200" dirty="0" err="1"/>
              <a:t>И.Погадаев</a:t>
            </a:r>
            <a:r>
              <a:rPr lang="ru-RU" sz="1200" dirty="0"/>
              <a:t>; под ред. </a:t>
            </a:r>
            <a:r>
              <a:rPr lang="ru-RU" sz="1200" dirty="0" err="1"/>
              <a:t>И.Акинфеева</a:t>
            </a:r>
            <a:endParaRPr lang="ru-RU" sz="1200" dirty="0"/>
          </a:p>
          <a:p>
            <a:pPr algn="ctr" fontAlgn="t"/>
            <a:endParaRPr lang="ru-RU" sz="12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10140863" y="3877473"/>
            <a:ext cx="20102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200" dirty="0"/>
              <a:t>ФП № </a:t>
            </a:r>
            <a:endParaRPr lang="en-US" sz="1200" dirty="0" smtClean="0"/>
          </a:p>
          <a:p>
            <a:pPr algn="ctr" fontAlgn="ctr"/>
            <a:r>
              <a:rPr lang="ru-RU" sz="1200" dirty="0" smtClean="0"/>
              <a:t>1.1.2.4.4.6.1</a:t>
            </a:r>
            <a:r>
              <a:rPr lang="en-US" sz="1200" dirty="0"/>
              <a:t>; 1.1.2.4.4.6.1 </a:t>
            </a:r>
            <a:endParaRPr lang="ru-RU" sz="1200" dirty="0" smtClean="0"/>
          </a:p>
          <a:p>
            <a:pPr algn="ctr" fontAlgn="ctr"/>
            <a:r>
              <a:rPr lang="ru-RU" sz="1200" dirty="0" smtClean="0">
                <a:sym typeface="Arial"/>
              </a:rPr>
              <a:t>Под ред. Цветковой М.С.</a:t>
            </a:r>
            <a:endParaRPr lang="ru-RU" sz="1200" dirty="0">
              <a:sym typeface="Arial"/>
            </a:endParaRPr>
          </a:p>
        </p:txBody>
      </p:sp>
      <p:pic>
        <p:nvPicPr>
          <p:cNvPr id="59" name="Picture 2" descr="Изображение Информационная безопасность. Кибербезопасность. 7–9 класс. Учебник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892" y="2252658"/>
            <a:ext cx="1182918" cy="16346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Изображение Информационная безопасность.&#10;Безопасное поведение в сети Интернет. 5–6 класс. Учебни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6226" y="1873197"/>
            <a:ext cx="1159401" cy="1625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0961" y="1860381"/>
            <a:ext cx="1098899" cy="1437804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64" name="Picture 2" descr="Изображение Русский родной язык. 5 класс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253" y="1881079"/>
            <a:ext cx="1092054" cy="145900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Изображение Русский родной язык. 9 класс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6641" y="2372813"/>
            <a:ext cx="1082317" cy="145900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Изображение Родная русская литература. 5 класс. Учебное пособие для общеобразовательных организаций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54" y="4745889"/>
            <a:ext cx="1130609" cy="151051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935" y="4583451"/>
            <a:ext cx="976948" cy="13701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2" name="Picture 3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198" y="5008854"/>
            <a:ext cx="931983" cy="13066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3" name="Рисунок 72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5"/>
          <a:stretch/>
        </p:blipFill>
        <p:spPr>
          <a:xfrm>
            <a:off x="216647" y="4853304"/>
            <a:ext cx="1134593" cy="16678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4" name="Picture 2" descr="https://www.ukazka.ru/img/g/uk42409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5387" y="4820932"/>
            <a:ext cx="1265803" cy="1693378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Изображение Школа волонтёра. 5-7 классы. Учебное пособие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654" y="1849783"/>
            <a:ext cx="1181596" cy="156329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Прямоугольник 79"/>
          <p:cNvSpPr/>
          <p:nvPr/>
        </p:nvSpPr>
        <p:spPr>
          <a:xfrm>
            <a:off x="10591878" y="6179540"/>
            <a:ext cx="1441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200" dirty="0"/>
              <a:t>ФП 1.1.2.7.1.7.1</a:t>
            </a:r>
          </a:p>
          <a:p>
            <a:pPr algn="ctr" fontAlgn="t"/>
            <a:r>
              <a:rPr lang="ru-RU" sz="1200" dirty="0" err="1"/>
              <a:t>Резапкина</a:t>
            </a:r>
            <a:r>
              <a:rPr lang="ru-RU" sz="1200" dirty="0"/>
              <a:t> Г.В.</a:t>
            </a: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452" y="4820137"/>
            <a:ext cx="1044910" cy="138582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444" y="4542377"/>
            <a:ext cx="1033878" cy="1376668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3" name="Прямоугольник 82"/>
          <p:cNvSpPr/>
          <p:nvPr/>
        </p:nvSpPr>
        <p:spPr>
          <a:xfrm>
            <a:off x="8408186" y="6204861"/>
            <a:ext cx="230120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t"/>
            <a:r>
              <a:rPr lang="ru-RU" sz="1200" dirty="0"/>
              <a:t>ФП 1.1.2.6.1.6.1</a:t>
            </a:r>
            <a:r>
              <a:rPr lang="en-US" sz="1200" dirty="0"/>
              <a:t>-</a:t>
            </a:r>
            <a:r>
              <a:rPr lang="ru-RU" sz="1200" dirty="0"/>
              <a:t>ФП 1.1.2.6.1.6.2</a:t>
            </a:r>
          </a:p>
          <a:p>
            <a:pPr algn="ctr" fontAlgn="t"/>
            <a:r>
              <a:rPr lang="ru-RU" sz="1200" dirty="0"/>
              <a:t>Н.Л. Селиванов, Т.В. Селиванова</a:t>
            </a:r>
            <a:endParaRPr lang="en-US" sz="1200" dirty="0"/>
          </a:p>
          <a:p>
            <a:pPr algn="ctr" fontAlgn="t"/>
            <a:r>
              <a:rPr lang="ru-RU" sz="1200" dirty="0"/>
              <a:t>А.А. Ермолин</a:t>
            </a:r>
            <a:endParaRPr lang="en-US" sz="1200" dirty="0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70240" y="6548872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9394" y="4608057"/>
            <a:ext cx="1113126" cy="156256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81" y="1944646"/>
            <a:ext cx="1208367" cy="1606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01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0" y="894692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-3051" y="902904"/>
            <a:ext cx="1753613" cy="791465"/>
          </a:xfrm>
          <a:prstGeom prst="rect">
            <a:avLst/>
          </a:prstGeom>
          <a:solidFill>
            <a:srgbClr val="41A4C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084" y="1045537"/>
            <a:ext cx="1351082" cy="530747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82899" y="1718327"/>
            <a:ext cx="3622377" cy="123761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советник </a:t>
            </a:r>
            <a:r>
              <a:rPr lang="ru-RU" sz="1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директора школы по ВР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заместитель директора школы по ВР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учитель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классный </a:t>
            </a:r>
            <a:r>
              <a:rPr lang="ru-RU" sz="1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руководитель</a:t>
            </a:r>
            <a:endParaRPr lang="ru-RU" sz="14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03993" y="2735609"/>
            <a:ext cx="5980187" cy="3707222"/>
            <a:chOff x="3154907" y="2922858"/>
            <a:chExt cx="5882185" cy="3525520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F693A828-88C1-415A-9443-1D729A3E91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6092" t="16958" r="16116" b="10809"/>
            <a:stretch/>
          </p:blipFill>
          <p:spPr>
            <a:xfrm>
              <a:off x="3154907" y="2922858"/>
              <a:ext cx="5882185" cy="35255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" name="Прямоугольник 4"/>
            <p:cNvSpPr/>
            <p:nvPr/>
          </p:nvSpPr>
          <p:spPr>
            <a:xfrm>
              <a:off x="7964680" y="3008120"/>
              <a:ext cx="931492" cy="2221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1970651" y="149600"/>
            <a:ext cx="9753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ru-RU" sz="20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Планирование </a:t>
            </a:r>
            <a:r>
              <a:rPr lang="ru-RU" sz="20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и </a:t>
            </a:r>
            <a:r>
              <a:rPr lang="ru-RU" sz="20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организация </a:t>
            </a:r>
            <a:r>
              <a:rPr lang="ru-RU" sz="20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воспитательной работы в школе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2"/>
          <p:cNvSpPr txBox="1">
            <a:spLocks/>
          </p:cNvSpPr>
          <p:nvPr/>
        </p:nvSpPr>
        <p:spPr>
          <a:xfrm>
            <a:off x="6847451" y="2265538"/>
            <a:ext cx="5200935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Возможности</a:t>
            </a:r>
            <a:r>
              <a:rPr lang="en-US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 </a:t>
            </a:r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цифрового сервиса: </a:t>
            </a:r>
          </a:p>
          <a:p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автоматизированное</a:t>
            </a:r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 создание рабочей Программы воспитания и календарного Плана воспитательной работы школы</a:t>
            </a: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 по модулям Примерной программы воспитания и направлениям воспитания ФГОС</a:t>
            </a:r>
          </a:p>
          <a:p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использование готовых материалов (сценариев)  </a:t>
            </a: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для организации воспитательной работы в школе (материалы ГК и авторские, возможна подгрузка разработок учителей)</a:t>
            </a:r>
            <a:endParaRPr lang="en-US" sz="1600" spc="-20" dirty="0" smtClean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  <a:p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библиотека учебных и методических пособий </a:t>
            </a: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по воспитательной работе</a:t>
            </a:r>
          </a:p>
          <a:p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автоматизированное </a:t>
            </a:r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проведение самоанализа воспитательной работы </a:t>
            </a: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в школе</a:t>
            </a:r>
          </a:p>
          <a:p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использование </a:t>
            </a:r>
            <a:r>
              <a:rPr lang="ru-RU" sz="1600" b="1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библиотеки нормативных документов</a:t>
            </a:r>
            <a:r>
              <a:rPr lang="ru-RU" sz="16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 по воспитательной работе в школе</a:t>
            </a:r>
            <a:endParaRPr lang="ru-RU" sz="16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</p:txBody>
      </p:sp>
      <p:pic>
        <p:nvPicPr>
          <p:cNvPr id="13" name="Picture 14" descr="https://static.tildacdn.com/tild6333-3064-4938-b064-366438623563/audience-icon-png-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58" y="1862618"/>
            <a:ext cx="705181" cy="46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64549" y="171823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970651" y="954077"/>
            <a:ext cx="9753600" cy="59020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8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сервис «ПРОвоспитание» </a:t>
            </a:r>
            <a:r>
              <a:rPr lang="ru-RU" sz="1800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— обеспечение </a:t>
            </a:r>
            <a:r>
              <a:rPr lang="ru-RU" sz="18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единого подхода к содержанию воспитательной деятельности  </a:t>
            </a:r>
          </a:p>
        </p:txBody>
      </p:sp>
    </p:spTree>
    <p:extLst>
      <p:ext uri="{BB962C8B-B14F-4D97-AF65-F5344CB8AC3E}">
        <p14:creationId xmlns:p14="http://schemas.microsoft.com/office/powerpoint/2010/main" val="58725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0"/>
          <p:cNvSpPr txBox="1"/>
          <p:nvPr/>
        </p:nvSpPr>
        <p:spPr>
          <a:xfrm>
            <a:off x="3167148" y="1956631"/>
            <a:ext cx="7988531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 smtClean="0">
                <a:ea typeface="Yu Gothic UI Light" panose="020B0300000000000000" pitchFamily="34" charset="-128"/>
              </a:rPr>
              <a:t>Различные виды </a:t>
            </a:r>
            <a:r>
              <a:rPr lang="ru-RU" sz="1600" dirty="0">
                <a:ea typeface="Yu Gothic UI Light" panose="020B0300000000000000" pitchFamily="34" charset="-128"/>
              </a:rPr>
              <a:t>компоновки единиц содержания (в зависимости от объема) :</a:t>
            </a:r>
          </a:p>
          <a:p>
            <a:r>
              <a:rPr lang="ru-RU" sz="1600" dirty="0">
                <a:ea typeface="Yu Gothic UI Light" panose="020B0300000000000000" pitchFamily="34" charset="-128"/>
              </a:rPr>
              <a:t>Учебный предмет </a:t>
            </a:r>
          </a:p>
          <a:p>
            <a:r>
              <a:rPr lang="ru-RU" sz="1600" dirty="0">
                <a:ea typeface="Yu Gothic UI Light" panose="020B0300000000000000" pitchFamily="34" charset="-128"/>
              </a:rPr>
              <a:t>Учебный курс </a:t>
            </a:r>
          </a:p>
          <a:p>
            <a:r>
              <a:rPr lang="ru-RU" sz="1600" dirty="0">
                <a:ea typeface="Yu Gothic UI Light" panose="020B0300000000000000" pitchFamily="34" charset="-128"/>
              </a:rPr>
              <a:t>Учебный модуль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3147435" y="3455260"/>
            <a:ext cx="8008244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lnSpc>
                <a:spcPts val="1679"/>
              </a:lnSpc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Возможность углубленного изучения отдельных предметов</a:t>
            </a:r>
            <a:endParaRPr lang="en-US" sz="1333" dirty="0">
              <a:solidFill>
                <a:srgbClr val="000000"/>
              </a:solidFill>
              <a:ea typeface="Yu Gothic UI Light" panose="020B0300000000000000" pitchFamily="34" charset="-128"/>
            </a:endParaRPr>
          </a:p>
        </p:txBody>
      </p:sp>
      <p:sp>
        <p:nvSpPr>
          <p:cNvPr id="22" name="TextBox 11"/>
          <p:cNvSpPr txBox="1"/>
          <p:nvPr/>
        </p:nvSpPr>
        <p:spPr>
          <a:xfrm>
            <a:off x="3167148" y="4367926"/>
            <a:ext cx="7988531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lnSpc>
                <a:spcPts val="1679"/>
              </a:lnSpc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Возможность реализации индивидуальных учебных планов, в том числе с возможностью сокращения сроков обучения</a:t>
            </a:r>
            <a:endParaRPr lang="en-US" sz="1600" dirty="0">
              <a:ea typeface="Yu Gothic UI Light" panose="020B0300000000000000" pitchFamily="34" charset="-128"/>
            </a:endParaRPr>
          </a:p>
        </p:txBody>
      </p:sp>
      <p:sp>
        <p:nvSpPr>
          <p:cNvPr id="23" name="TextBox 11"/>
          <p:cNvSpPr txBox="1"/>
          <p:nvPr/>
        </p:nvSpPr>
        <p:spPr>
          <a:xfrm>
            <a:off x="3167148" y="5335121"/>
            <a:ext cx="7988531" cy="492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 smtClean="0">
                <a:ea typeface="Yu Gothic UI Light" panose="020B0300000000000000" pitchFamily="34" charset="-128"/>
              </a:rPr>
              <a:t>Возможность </a:t>
            </a:r>
            <a:r>
              <a:rPr lang="ru-RU" sz="1600" dirty="0">
                <a:ea typeface="Yu Gothic UI Light" panose="020B0300000000000000" pitchFamily="34" charset="-128"/>
              </a:rPr>
              <a:t>для организации – федеральной или региональной инновационной площадки самостоятельно выбирать траекторию изучения содержания образования</a:t>
            </a:r>
          </a:p>
        </p:txBody>
      </p:sp>
      <p:pic>
        <p:nvPicPr>
          <p:cNvPr id="30" name="Picture 8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1880806" y="5379681"/>
            <a:ext cx="515582" cy="40121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791739" y="157882"/>
            <a:ext cx="9991766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беспечение требований к условиям реализации </a:t>
            </a: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</a:t>
            </a:r>
          </a:p>
          <a:p>
            <a:pPr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Достижение планируемых результатов освоения программы общего образования </a:t>
            </a:r>
            <a:endParaRPr lang="ru-RU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4146" y="934624"/>
            <a:ext cx="12187854" cy="625430"/>
          </a:xfrm>
          <a:prstGeom prst="rect">
            <a:avLst/>
          </a:prstGeom>
          <a:solidFill>
            <a:srgbClr val="E4F0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33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                                    </a:t>
            </a:r>
            <a:endParaRPr lang="ru-RU" sz="20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53" name="Picture 7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/>
          <a:stretch>
            <a:fillRect/>
          </a:stretch>
        </p:blipFill>
        <p:spPr>
          <a:xfrm>
            <a:off x="1828708" y="1901752"/>
            <a:ext cx="567680" cy="567680"/>
          </a:xfrm>
          <a:prstGeom prst="rect">
            <a:avLst/>
          </a:prstGeom>
        </p:spPr>
      </p:pic>
      <p:pic>
        <p:nvPicPr>
          <p:cNvPr id="54" name="Picture 1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rcRect/>
          <a:stretch>
            <a:fillRect/>
          </a:stretch>
        </p:blipFill>
        <p:spPr>
          <a:xfrm>
            <a:off x="1791739" y="4265174"/>
            <a:ext cx="604649" cy="490316"/>
          </a:xfrm>
          <a:prstGeom prst="rect">
            <a:avLst/>
          </a:prstGeom>
        </p:spPr>
      </p:pic>
      <p:pic>
        <p:nvPicPr>
          <p:cNvPr id="55" name="Picture 23"/>
          <p:cNvPicPr>
            <a:picLocks noChangeAspect="1"/>
          </p:cNvPicPr>
          <p:nvPr/>
        </p:nvPicPr>
        <p:blipFill>
          <a:blip r:embed="rId30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1926681" y="3187737"/>
            <a:ext cx="469707" cy="600788"/>
          </a:xfrm>
          <a:prstGeom prst="rect">
            <a:avLst/>
          </a:prstGeom>
        </p:spPr>
      </p:pic>
      <p:sp>
        <p:nvSpPr>
          <p:cNvPr id="57" name="Заголовок 1"/>
          <p:cNvSpPr txBox="1">
            <a:spLocks/>
          </p:cNvSpPr>
          <p:nvPr/>
        </p:nvSpPr>
        <p:spPr>
          <a:xfrm>
            <a:off x="1753355" y="1014542"/>
            <a:ext cx="9753600" cy="59020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ru-RU" sz="18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Вариативность содержания и форм учебной деятельности обеспечивается через использование  дополнительных учебных пособий </a:t>
            </a:r>
          </a:p>
        </p:txBody>
      </p:sp>
    </p:spTree>
    <p:extLst>
      <p:ext uri="{BB962C8B-B14F-4D97-AF65-F5344CB8AC3E}">
        <p14:creationId xmlns:p14="http://schemas.microsoft.com/office/powerpoint/2010/main" val="139686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-1" y="916091"/>
            <a:ext cx="12188949" cy="49707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58809" y="109193"/>
            <a:ext cx="10029387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о-методическое обеспечение для достижения личностных и </a:t>
            </a:r>
            <a:r>
              <a:rPr lang="ru-RU" sz="1600" dirty="0" err="1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метапредметных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результатов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  <a:p>
            <a:pPr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ачальная школа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951348" y="938663"/>
            <a:ext cx="101715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Дополнительные учебные пособия помогут обеспечить реализацию новых требований ФГОС  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90" name="Рисунок 8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0785" y="1592370"/>
            <a:ext cx="1229933" cy="155389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graphicFrame>
        <p:nvGraphicFramePr>
          <p:cNvPr id="91" name="Таблица 9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242593"/>
              </p:ext>
            </p:extLst>
          </p:nvPr>
        </p:nvGraphicFramePr>
        <p:xfrm>
          <a:off x="115886" y="1537647"/>
          <a:ext cx="7578585" cy="4887162"/>
        </p:xfrm>
        <a:graphic>
          <a:graphicData uri="http://schemas.openxmlformats.org/drawingml/2006/table">
            <a:tbl>
              <a:tblPr/>
              <a:tblGrid>
                <a:gridCol w="2134538">
                  <a:extLst>
                    <a:ext uri="{9D8B030D-6E8A-4147-A177-3AD203B41FA5}">
                      <a16:colId xmlns:a16="http://schemas.microsoft.com/office/drawing/2014/main" val="405908439"/>
                    </a:ext>
                  </a:extLst>
                </a:gridCol>
                <a:gridCol w="5444047">
                  <a:extLst>
                    <a:ext uri="{9D8B030D-6E8A-4147-A177-3AD203B41FA5}">
                      <a16:colId xmlns:a16="http://schemas.microsoft.com/office/drawing/2014/main" val="152928745"/>
                    </a:ext>
                  </a:extLst>
                </a:gridCol>
              </a:tblGrid>
              <a:tr h="26542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9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АПРАВЛЕНИЯ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9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АВТОР/НАЗВАНИЕ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КУРСА ВНЕУРОЧНОЙ ДЕЯТЕЛЬНОСТИ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91618"/>
                  </a:ext>
                </a:extLst>
              </a:tr>
              <a:tr h="33101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ИНТЕЛЛЕКТУАЛЬНОЕ</a:t>
                      </a:r>
                      <a:endParaRPr lang="ru-RU" sz="12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.К.Антошин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рамотный читатель. Обучение смысловому чтению (1–4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Т.А.Ладыжен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Н.В.Ладыжен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Р.И.Николь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Г.И.Сорокин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Детская риторика в рассказах</a:t>
                      </a:r>
                      <a:r>
                        <a:rPr lang="ru-RU" sz="1200" b="1" i="0" u="none" strike="noStrike" cap="none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и картинках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Л.В.Петленко, </a:t>
                      </a:r>
                      <a:r>
                        <a:rPr lang="ru-RU" sz="1200" b="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В.Ю.Романова</a:t>
                      </a: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усский язык.</a:t>
                      </a:r>
                      <a:r>
                        <a:rPr lang="en-US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знавательные истории с заданиям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.И.Волкова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еометрия вокруг нас (1–4)</a:t>
                      </a:r>
                      <a:endParaRPr lang="ru-RU" sz="8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Ю.И.Глаголева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азвитие математических способностей (1–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Е.Э.</a:t>
                      </a: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Кочурова  </a:t>
                      </a: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анимательная математика (1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Г.Калашникова </a:t>
                      </a:r>
                      <a:r>
                        <a:rPr lang="ru-RU" sz="1200" b="0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 др.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екреты финансовой грамоты (2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М.С.Цветкова, </a:t>
                      </a:r>
                      <a:r>
                        <a:rPr lang="ru-RU" sz="1200" b="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Е.В.Якушина</a:t>
                      </a:r>
                      <a:r>
                        <a:rPr lang="ru-RU" sz="1200" b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 (2-4)</a:t>
                      </a:r>
                      <a:r>
                        <a:rPr lang="ru-RU" sz="1200" b="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Информационная безопасность.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Правила безопасного  Интернета (Новинка ФПУ)</a:t>
                      </a:r>
                      <a:endParaRPr lang="ru-RU" sz="12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Д.И.Павлов,</a:t>
                      </a:r>
                      <a:r>
                        <a:rPr lang="ru-RU" sz="1200" b="0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0" i="0" u="none" kern="1200" baseline="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.Ю.</a:t>
                      </a: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евякин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,</a:t>
                      </a:r>
                      <a:r>
                        <a:rPr lang="ru-RU" sz="1200" b="0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0" i="0" u="none" kern="1200" baseline="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Л.Л.</a:t>
                      </a: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Босова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обототехника (2-4) (Новинка</a:t>
                      </a: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ФПУ)</a:t>
                      </a:r>
                      <a:endParaRPr lang="en-US" sz="12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А.Г.Сиденко</a:t>
                      </a:r>
                      <a:r>
                        <a:rPr lang="en-US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нформационная безопасность,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ли Как вести себя в Сети </a:t>
                      </a:r>
                      <a:r>
                        <a:rPr lang="en-US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(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1-4</a:t>
                      </a:r>
                      <a:r>
                        <a:rPr lang="en-US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)</a:t>
                      </a:r>
                      <a:endParaRPr lang="ru-RU" sz="12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Н.Дорохина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, </a:t>
                      </a: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А.Паршина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пыты и эксперименты в начальной школе (1-2)</a:t>
                      </a:r>
                      <a:endParaRPr lang="ru-RU" sz="800" b="1" i="0" u="none" strike="noStrike" kern="1200" cap="none" baseline="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И.К.Лапин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В.Г.Сурдин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Школа юного астронома (3-4)</a:t>
                      </a:r>
                      <a:endParaRPr lang="ru-RU" sz="800" b="1" i="0" u="none" kern="1200" baseline="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.А.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Корнев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А.Корнев</a:t>
                      </a:r>
                      <a:r>
                        <a:rPr lang="ru-RU" sz="1200" b="0" i="0" u="none" strike="noStrike" cap="none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роектная мастерская (1)</a:t>
                      </a: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03744"/>
                  </a:ext>
                </a:extLst>
              </a:tr>
              <a:tr h="596026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КУЛЬТУРНОЕ</a:t>
                      </a:r>
                      <a:endParaRPr lang="ru-RU" sz="12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.Ю.Алексашина, </a:t>
                      </a:r>
                      <a:r>
                        <a:rPr lang="ru-RU" sz="1200" b="0" i="0" u="none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И.Лагутенко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Что мы знаем про то, что нас окружает? </a:t>
                      </a:r>
                      <a:r>
                        <a:rPr lang="ru-RU" sz="1200" b="0" i="0" u="none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Тетрадь-практикум. В 2 ч. (1-4)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Л.Селиванов</a:t>
                      </a: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, </a:t>
                      </a:r>
                      <a:r>
                        <a:rPr lang="ru-RU" sz="1200" b="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Т.В.Селиванова</a:t>
                      </a: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сновы </a:t>
                      </a:r>
                      <a:r>
                        <a:rPr lang="ru-RU" sz="1200" b="1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нфографики</a:t>
                      </a:r>
                      <a:r>
                        <a:rPr lang="ru-RU" sz="1200" b="1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(1-4) (Новинка ФПУ)</a:t>
                      </a:r>
                      <a:endParaRPr lang="ru-RU" sz="1200" b="1" kern="12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314606"/>
                  </a:ext>
                </a:extLst>
              </a:tr>
              <a:tr h="56927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ПОРТИВНО­-ОЗДОРОВИТЕЛЬНОЕ</a:t>
                      </a:r>
                      <a:endParaRPr lang="ru-RU" sz="12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д ред. </a:t>
                      </a:r>
                      <a:r>
                        <a:rPr lang="ru-RU" sz="1200" b="0" kern="1200" dirty="0" err="1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.Г.Онищенко</a:t>
                      </a:r>
                      <a:r>
                        <a:rPr lang="ru-RU" sz="1200" b="0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дорово быть здоровым</a:t>
                      </a:r>
                    </a:p>
                  </a:txBody>
                  <a:tcPr marL="108000" marR="108000" marT="0" marB="0" anchor="ctr">
                    <a:lnL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9BFD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073343"/>
                  </a:ext>
                </a:extLst>
              </a:tr>
            </a:tbl>
          </a:graphicData>
        </a:graphic>
      </p:graphicFrame>
      <p:pic>
        <p:nvPicPr>
          <p:cNvPr id="92" name="Picture 2" descr="C:\Users\MRomanova\AppData\Local\Microsoft\Windows\Temporary Internet Files\Content.Outlook\1ALXYQT3\Cov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0786" y="3207082"/>
            <a:ext cx="1229932" cy="154829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Рисунок 9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346" y="3206586"/>
            <a:ext cx="1229935" cy="1553891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483" y="3207082"/>
            <a:ext cx="1228403" cy="154829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914022C8-6E5B-41E5-9C8D-79CC74192E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90786" y="4801437"/>
            <a:ext cx="1229932" cy="155959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3346" y="4801437"/>
            <a:ext cx="1229934" cy="155959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97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71" t="11105" r="29883" b="6661"/>
          <a:stretch/>
        </p:blipFill>
        <p:spPr bwMode="auto">
          <a:xfrm>
            <a:off x="10698813" y="1592369"/>
            <a:ext cx="1229018" cy="1553892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817" y="4801437"/>
            <a:ext cx="1229932" cy="155959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99" name="Picture 4" descr="Изображение Грамотный читатель. Обучение смысловому чтению.  1-2 классы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3347" y="1592371"/>
            <a:ext cx="1238563" cy="1553891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95718" y="6545623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822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142" y="859071"/>
            <a:ext cx="12189858" cy="535611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81507" y="129571"/>
            <a:ext cx="10029387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о-методическое обеспечение для достижения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ных и </a:t>
            </a:r>
            <a:r>
              <a:rPr lang="ru-RU" sz="1600" dirty="0" err="1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метапредметных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результатов</a:t>
            </a:r>
          </a:p>
          <a:p>
            <a:pPr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сновная школа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802" y="1707498"/>
            <a:ext cx="1131385" cy="148821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785" y="1707498"/>
            <a:ext cx="1131385" cy="1488219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</p:pic>
      <p:pic>
        <p:nvPicPr>
          <p:cNvPr id="37" name="Picture 2" descr="Веб-дизайн. Уровень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6805" y="3266973"/>
            <a:ext cx="1131385" cy="1488219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394049"/>
              </p:ext>
            </p:extLst>
          </p:nvPr>
        </p:nvGraphicFramePr>
        <p:xfrm>
          <a:off x="104491" y="1626634"/>
          <a:ext cx="9438739" cy="4818517"/>
        </p:xfrm>
        <a:graphic>
          <a:graphicData uri="http://schemas.openxmlformats.org/drawingml/2006/table">
            <a:tbl>
              <a:tblPr/>
              <a:tblGrid>
                <a:gridCol w="2053493">
                  <a:extLst>
                    <a:ext uri="{9D8B030D-6E8A-4147-A177-3AD203B41FA5}">
                      <a16:colId xmlns:a16="http://schemas.microsoft.com/office/drawing/2014/main" val="405908439"/>
                    </a:ext>
                  </a:extLst>
                </a:gridCol>
                <a:gridCol w="7385246">
                  <a:extLst>
                    <a:ext uri="{9D8B030D-6E8A-4147-A177-3AD203B41FA5}">
                      <a16:colId xmlns:a16="http://schemas.microsoft.com/office/drawing/2014/main" val="152928745"/>
                    </a:ext>
                  </a:extLst>
                </a:gridCol>
              </a:tblGrid>
              <a:tr h="46399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9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АПРАВЛЕНИЯ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9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АВТОР/НАЗВАНИЕ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КУРСА ВНЕУРОЧНОЙ ДЕЯТЕЛЬНОСТИ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91618"/>
                  </a:ext>
                </a:extLst>
              </a:tr>
              <a:tr h="88521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ОБЩЕИНТЕЛЛЕКТУАЛЬНОЕ</a:t>
                      </a:r>
                      <a:endParaRPr lang="ru-RU" sz="11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E5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Н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. Н. Гомулина, В. Г. Сурдин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Введение в астрономию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–7 классы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А. А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Марко, И. А. Смирнов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сследовательские и проектные работы по физике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5–9 классы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Н. Ю Смирнова, И. А. Смирнов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сследовательские и проектные работы по химии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–9 классы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. А. Смирнов, Н. В. Мальцевская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сследовательские и проектные работы по биологии.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5–9 классы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9070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ОБЩЕКУЛЬТУРНОЕ</a:t>
                      </a:r>
                      <a:endParaRPr lang="ru-RU" sz="11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E5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Н. Л. Селиванов, Т. В. Селиванова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Основы инфографики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. 5–7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Алёша Ермолин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Основы инфографики.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8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9 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М. В. Козлов, В. В. Кравчук, Е. С. Элбакян, О. Д. Федоров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Религиозные культуры народов России.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7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8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  <a:endParaRPr lang="ru-RU" sz="1100" b="0" kern="1200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Т. В. Ковган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Журналистика для начинающих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8 класс</a:t>
                      </a:r>
                    </a:p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Е. М. Приорова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Экологическая культура и здоровье человека. Практикум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5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7 классы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. Ю. Алексашина, О. И. Лагутенко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Чему природа учит человека? Тетрадь-практикум.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6 классы</a:t>
                      </a:r>
                    </a:p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. Ю. Алексашина, О. И. Лагутенко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ак сохранить нашу планету? Тетрадь-практикум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7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9 классы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03744"/>
                  </a:ext>
                </a:extLst>
              </a:tr>
              <a:tr h="56984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СПОРТИВНО­-ОЗДОРОВИТЕЛЬНОЕ</a:t>
                      </a:r>
                      <a:endParaRPr lang="ru-RU" sz="11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E5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Под ред. Г. Г. Онищенко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Здорово быть здоровым.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5–6, 7–9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классы</a:t>
                      </a:r>
                      <a:endParaRPr lang="en-US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altLang="zh-CN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  <a:sym typeface="Arial" panose="020B0604020202020204" pitchFamily="34" charset="0"/>
                        </a:rPr>
                        <a:t>Е. А. Прудникова, Е. И. Волкова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Шахматы в школе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–7 классы 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П.А. Чернышев, М.И.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Викерчук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, И.В.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Глек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А.С.Виноградов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; под ред.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.В.Глека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Шахматы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-9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классы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314606"/>
                  </a:ext>
                </a:extLst>
              </a:tr>
              <a:tr h="147471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СОЦИАЛЬНОЕ</a:t>
                      </a:r>
                      <a:r>
                        <a:rPr lang="ru-RU" sz="1100" b="1" kern="12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ru-RU" sz="1100" b="1" kern="12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E5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М. С. Цветкова, Е. В. Якушина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нформационная безопасность.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5–6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М. С. Цветкова, И. Ю.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Хлобыстова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нформационная безопасность.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7–9 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М. С. Наместникова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нформационная безопасность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. 7–9 классы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М. С. Цветкова и др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нформационная безопасность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10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11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Е. Б. Лавренова, О. Н. Лаврентьева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Финансовая грамотность. Современный мир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. 8–9 классы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ФПУ)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В. В. Чумаченко, А. П.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Горячев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Основы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ф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инансовой грамотности.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8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–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9 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ФПУ)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С. В. Толкачёва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Финансовая грамотность. Цифровой мир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10-11 классы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Д. Г. Жемчужников.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Веб-дизайн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7–9 классы, 10–11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лассы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 ФПУ)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Д. Г. Копосов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Технология. Робототехника.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5–8 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Д. Г. Копосов.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Робототехника на платформе 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Arduino. 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9–11 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классы 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Calibri" panose="020F0502020204030204" pitchFamily="34" charset="0"/>
                        </a:rPr>
                        <a:t>(новинка ФПУ)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F3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073343"/>
                  </a:ext>
                </a:extLst>
              </a:tr>
            </a:tbl>
          </a:graphicData>
        </a:graphic>
      </p:graphicFrame>
      <p:pic>
        <p:nvPicPr>
          <p:cNvPr id="39" name="Picture 2" descr="Изображение Журналистика для начинающих. 8-9 классы.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900785" y="3291784"/>
            <a:ext cx="1131385" cy="1488219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802" y="4826448"/>
            <a:ext cx="1167390" cy="1608562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61764" y="4845489"/>
            <a:ext cx="1170422" cy="156245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3" name="TextBox 32"/>
          <p:cNvSpPr txBox="1"/>
          <p:nvPr/>
        </p:nvSpPr>
        <p:spPr>
          <a:xfrm>
            <a:off x="1951348" y="938663"/>
            <a:ext cx="101715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Дополнительные учебные пособия помогут обеспечить реализацию новых требований ФГОС  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012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6227805" y="2073889"/>
            <a:ext cx="5967246" cy="3614270"/>
          </a:xfrm>
          <a:prstGeom prst="rect">
            <a:avLst/>
          </a:prstGeom>
          <a:solidFill>
            <a:srgbClr val="FFF0C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-23790" y="2060848"/>
            <a:ext cx="6004460" cy="3614270"/>
          </a:xfrm>
          <a:prstGeom prst="rect">
            <a:avLst/>
          </a:prstGeom>
          <a:solidFill>
            <a:srgbClr val="D9EDF9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7" name="TextBox 56"/>
          <p:cNvSpPr txBox="1"/>
          <p:nvPr/>
        </p:nvSpPr>
        <p:spPr>
          <a:xfrm>
            <a:off x="1772449" y="742976"/>
            <a:ext cx="1002938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700"/>
              </a:lnSpc>
              <a:defRPr/>
            </a:pPr>
            <a:r>
              <a:rPr lang="ru-RU" dirty="0" smtClean="0">
                <a:solidFill>
                  <a:srgbClr val="3A3894"/>
                </a:solidFill>
                <a:latin typeface="Calibri" panose="020F0502020204030204" pitchFamily="34" charset="0"/>
              </a:rPr>
              <a:t>Комплексный продукт для формирования по </a:t>
            </a:r>
            <a:r>
              <a:rPr lang="ru-RU" dirty="0">
                <a:solidFill>
                  <a:srgbClr val="3A3894"/>
                </a:solidFill>
                <a:latin typeface="Calibri" panose="020F0502020204030204" pitchFamily="34" charset="0"/>
              </a:rPr>
              <a:t>функциональной грамотности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3051" y="1245232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3" name="TextBox 42"/>
          <p:cNvSpPr txBox="1"/>
          <p:nvPr/>
        </p:nvSpPr>
        <p:spPr>
          <a:xfrm>
            <a:off x="1753355" y="1428598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227898" y="2546165"/>
            <a:ext cx="4868706" cy="283462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Учимся для жизни (5—9)» (Выпуск 2 – новинка 2021)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Тренажеры (5—9)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Задачники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ГОС. Оценка образовательных достижений»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227805" y="1245232"/>
            <a:ext cx="5967246" cy="791465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7" name="TextBox 46"/>
          <p:cNvSpPr txBox="1"/>
          <p:nvPr/>
        </p:nvSpPr>
        <p:spPr>
          <a:xfrm>
            <a:off x="7737873" y="1428598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455465"/>
            <a:ext cx="728841" cy="72884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335927"/>
            <a:ext cx="726248" cy="698047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4178637"/>
            <a:ext cx="626204" cy="623577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5" cstate="print"/>
          <a:srcRect l="14692" t="20657" r="22083" b="16289"/>
          <a:stretch/>
        </p:blipFill>
        <p:spPr>
          <a:xfrm>
            <a:off x="213651" y="4968479"/>
            <a:ext cx="1057109" cy="478690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6560101" y="2518489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sz="1400" dirty="0" smtClean="0">
                <a:ea typeface="Open Sans" pitchFamily="34" charset="0"/>
                <a:cs typeface="Open Sans" pitchFamily="34" charset="0"/>
              </a:rPr>
              <a:t>PISA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61" name="Прямоугольник 60">
            <a:hlinkClick r:id="rId6"/>
          </p:cNvPr>
          <p:cNvSpPr/>
          <p:nvPr/>
        </p:nvSpPr>
        <p:spPr>
          <a:xfrm>
            <a:off x="8422710" y="5782266"/>
            <a:ext cx="1577436" cy="586990"/>
          </a:xfrm>
          <a:prstGeom prst="rect">
            <a:avLst/>
          </a:prstGeom>
          <a:solidFill>
            <a:srgbClr val="E9950D">
              <a:alpha val="48000"/>
            </a:srgb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hlinkClick r:id="rId7"/>
              </a:rPr>
              <a:t>Открыть банк заданий</a:t>
            </a:r>
            <a:endParaRPr lang="ru-RU" sz="1600" dirty="0"/>
          </a:p>
        </p:txBody>
      </p:sp>
      <p:sp>
        <p:nvSpPr>
          <p:cNvPr id="81" name="TextBox 80"/>
          <p:cNvSpPr txBox="1"/>
          <p:nvPr/>
        </p:nvSpPr>
        <p:spPr>
          <a:xfrm>
            <a:off x="2129390" y="5829256"/>
            <a:ext cx="1677363" cy="540000"/>
          </a:xfrm>
          <a:prstGeom prst="rect">
            <a:avLst/>
          </a:prstGeom>
          <a:solidFill>
            <a:srgbClr val="D8EBF4"/>
          </a:solidFill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hlinkClick r:id=""/>
              </a:rPr>
              <a:t>Узнать больше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hlinkClick r:id=""/>
              </a:rPr>
              <a:t>и купить</a:t>
            </a:r>
            <a:endParaRPr lang="ru-RU" sz="1600" dirty="0" smtClean="0">
              <a:solidFill>
                <a:schemeClr val="bg1"/>
              </a:solidFill>
            </a:endParaRPr>
          </a:p>
        </p:txBody>
      </p:sp>
      <p:pic>
        <p:nvPicPr>
          <p:cNvPr id="8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41272" y="5939385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4192" y="590772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Прямоугольник 84"/>
          <p:cNvSpPr/>
          <p:nvPr/>
        </p:nvSpPr>
        <p:spPr>
          <a:xfrm>
            <a:off x="1368894" y="3062757"/>
            <a:ext cx="4651714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(все виды грамотностей)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441235" y="3864131"/>
            <a:ext cx="46517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Сборники задач для отработки навыков решения задач</a:t>
            </a:r>
          </a:p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  (математическая и естественно-научная </a:t>
            </a:r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грамотность)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1480896" y="4515849"/>
            <a:ext cx="46517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83970" name="Picture 2" descr="https://ashe.graphics/preview/prosv/media/static/landing-fg/images/info-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895" y="3410166"/>
            <a:ext cx="3810000" cy="23526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1883991" y="130489"/>
            <a:ext cx="10029387" cy="412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700"/>
              </a:lnSpc>
              <a:defRPr/>
            </a:pPr>
            <a:r>
              <a:rPr lang="ru-RU" dirty="0" smtClean="0">
                <a:solidFill>
                  <a:srgbClr val="3A3894"/>
                </a:solidFill>
                <a:latin typeface="Calibri" panose="020F0502020204030204" pitchFamily="34" charset="0"/>
              </a:rPr>
              <a:t>Задача формирования функциональной грамотности – новое требование ФГОС </a:t>
            </a:r>
            <a:endParaRPr lang="ru-RU" dirty="0">
              <a:solidFill>
                <a:srgbClr val="3A389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342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Прямоугольник 402"/>
          <p:cNvSpPr/>
          <p:nvPr/>
        </p:nvSpPr>
        <p:spPr>
          <a:xfrm>
            <a:off x="426882" y="3937455"/>
            <a:ext cx="11765118" cy="2544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1" name="Rectangle 9"/>
          <p:cNvSpPr>
            <a:spLocks noChangeArrowheads="1"/>
          </p:cNvSpPr>
          <p:nvPr/>
        </p:nvSpPr>
        <p:spPr bwMode="auto">
          <a:xfrm>
            <a:off x="8210209" y="1203068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0A7E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8" name="Rectangle 9"/>
          <p:cNvSpPr>
            <a:spLocks noChangeArrowheads="1"/>
          </p:cNvSpPr>
          <p:nvPr/>
        </p:nvSpPr>
        <p:spPr bwMode="auto">
          <a:xfrm>
            <a:off x="8210209" y="1176488"/>
            <a:ext cx="2626106" cy="1018992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9" name="Rectangle 9"/>
          <p:cNvSpPr>
            <a:spLocks noChangeArrowheads="1"/>
          </p:cNvSpPr>
          <p:nvPr/>
        </p:nvSpPr>
        <p:spPr bwMode="auto">
          <a:xfrm>
            <a:off x="1283715" y="1203068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9" name="Rectangle 9"/>
          <p:cNvSpPr>
            <a:spLocks noChangeArrowheads="1"/>
          </p:cNvSpPr>
          <p:nvPr/>
        </p:nvSpPr>
        <p:spPr bwMode="auto">
          <a:xfrm>
            <a:off x="1276266" y="1203068"/>
            <a:ext cx="2626106" cy="1018992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91794" y="262939"/>
            <a:ext cx="917171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лючевые приоритеты </a:t>
            </a: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истемы образования </a:t>
            </a: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Ф закреплены в обновлённых ФГОС</a:t>
            </a:r>
            <a:endParaRPr kumimoji="0" lang="ru-RU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7107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122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0" name="Прямоугольник 3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405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5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4065563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072" y="4035146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0" name="Rectangle 9"/>
          <p:cNvSpPr>
            <a:spLocks noChangeArrowheads="1"/>
          </p:cNvSpPr>
          <p:nvPr/>
        </p:nvSpPr>
        <p:spPr bwMode="auto">
          <a:xfrm>
            <a:off x="4841344" y="1203068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3D1A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2" name="TextBox 361"/>
          <p:cNvSpPr txBox="1"/>
          <p:nvPr/>
        </p:nvSpPr>
        <p:spPr>
          <a:xfrm>
            <a:off x="8194520" y="2506417"/>
            <a:ext cx="2626106" cy="5547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Безопасно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цифровых технологий 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1268026" y="2463388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ство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ой и воспитательной деятельности 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4833104" y="2265143"/>
            <a:ext cx="2626106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звит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личностных качеств для адаптации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 изменяющимс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словиям социальной и природной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реды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6" name="Rectangle 9"/>
          <p:cNvSpPr>
            <a:spLocks noChangeArrowheads="1"/>
          </p:cNvSpPr>
          <p:nvPr/>
        </p:nvSpPr>
        <p:spPr bwMode="auto">
          <a:xfrm>
            <a:off x="4825657" y="1209889"/>
            <a:ext cx="2626106" cy="1012171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9" name="Freeform 53"/>
          <p:cNvSpPr>
            <a:spLocks noEditPoints="1"/>
          </p:cNvSpPr>
          <p:nvPr/>
        </p:nvSpPr>
        <p:spPr bwMode="auto">
          <a:xfrm>
            <a:off x="5856813" y="1460685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9" name="Freeform 41"/>
          <p:cNvSpPr>
            <a:spLocks/>
          </p:cNvSpPr>
          <p:nvPr/>
        </p:nvSpPr>
        <p:spPr bwMode="auto">
          <a:xfrm>
            <a:off x="2275328" y="1483355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390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481" y="405836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220445" y="4940627"/>
            <a:ext cx="1949327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льный закон от 31.07.2020 №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04-ФЗ</a:t>
            </a:r>
          </a:p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сении изменений в Федеральный закон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б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нии в Российской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ции»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вопросам воспитания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учающихся»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30008" y="4940627"/>
            <a:ext cx="168523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каз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 национальных целях развития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оссийской Федерации на период до 2030 года»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т 21.07.2020 </a:t>
            </a:r>
          </a:p>
        </p:txBody>
      </p:sp>
      <p:sp>
        <p:nvSpPr>
          <p:cNvPr id="391" name="Freeform 55"/>
          <p:cNvSpPr>
            <a:spLocks noEditPoints="1"/>
          </p:cNvSpPr>
          <p:nvPr/>
        </p:nvSpPr>
        <p:spPr bwMode="auto">
          <a:xfrm>
            <a:off x="9303789" y="1472124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135154" y="4868539"/>
            <a:ext cx="1826265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6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начального общего образования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166619" y="4880605"/>
            <a:ext cx="1677892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7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основного общего образования»</a:t>
            </a:r>
          </a:p>
        </p:txBody>
      </p:sp>
      <p:sp>
        <p:nvSpPr>
          <p:cNvPr id="392" name="Прямоугольник 391"/>
          <p:cNvSpPr/>
          <p:nvPr/>
        </p:nvSpPr>
        <p:spPr>
          <a:xfrm>
            <a:off x="10054679" y="4876076"/>
            <a:ext cx="1779425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отокол ФУМО по общему образованию № 3/21 от 27.09.2021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мерные рабочие программы начального и основного общего образования  </a:t>
            </a:r>
          </a:p>
        </p:txBody>
      </p:sp>
      <p:pic>
        <p:nvPicPr>
          <p:cNvPr id="39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1601" y="4010570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5" name="Прямоугольник 394"/>
          <p:cNvSpPr/>
          <p:nvPr/>
        </p:nvSpPr>
        <p:spPr>
          <a:xfrm>
            <a:off x="4374972" y="4886389"/>
            <a:ext cx="16723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аспорт стратегии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Цифровая трансформация образования»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.07.2021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96" name="Прямая соединительная линия 395"/>
          <p:cNvCxnSpPr/>
          <p:nvPr/>
        </p:nvCxnSpPr>
        <p:spPr>
          <a:xfrm flipV="1">
            <a:off x="1065313" y="3294788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Прямая соединительная линия 396"/>
          <p:cNvCxnSpPr/>
          <p:nvPr/>
        </p:nvCxnSpPr>
        <p:spPr>
          <a:xfrm>
            <a:off x="1048837" y="3286548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Прямая соединительная линия 397"/>
          <p:cNvCxnSpPr/>
          <p:nvPr/>
        </p:nvCxnSpPr>
        <p:spPr>
          <a:xfrm flipV="1">
            <a:off x="11110354" y="3251121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Прямая соединительная линия 398"/>
          <p:cNvCxnSpPr/>
          <p:nvPr/>
        </p:nvCxnSpPr>
        <p:spPr>
          <a:xfrm>
            <a:off x="11004752" y="3272421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Прямая соединительная линия 399"/>
          <p:cNvCxnSpPr/>
          <p:nvPr/>
        </p:nvCxnSpPr>
        <p:spPr>
          <a:xfrm flipV="1">
            <a:off x="1065313" y="3700892"/>
            <a:ext cx="10054769" cy="30972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646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82736" y="138665"/>
            <a:ext cx="9430047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ые пособия для формирования функциональной грамотности в урочной и внеурочной деятельности 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625518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-3051" y="1029098"/>
            <a:ext cx="1690535" cy="646414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77" name="TextBox 76"/>
          <p:cNvSpPr txBox="1"/>
          <p:nvPr/>
        </p:nvSpPr>
        <p:spPr>
          <a:xfrm>
            <a:off x="1771786" y="1042542"/>
            <a:ext cx="10082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ормирование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ценка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сех направлений функциональной грамотности международного сравнительного исследования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PISA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29675" y="659609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709775" y="1730486"/>
            <a:ext cx="32741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</a:t>
            </a: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«Учимся </a:t>
            </a:r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ля </a:t>
            </a:r>
            <a:r>
              <a:rPr lang="ru-RU" sz="16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жизни»</a:t>
            </a:r>
            <a:endParaRPr lang="ru-RU" sz="16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5-9 классы</a:t>
            </a:r>
            <a:endParaRPr 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784516" y="1730515"/>
            <a:ext cx="31575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</a:t>
            </a:r>
            <a:endParaRPr lang="ru-RU" sz="1600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algn="ctr"/>
            <a:r>
              <a:rPr lang="ru-RU" sz="16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«Тренажеры»</a:t>
            </a:r>
            <a:endParaRPr lang="ru-RU" sz="16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5-9 классы</a:t>
            </a:r>
            <a:endParaRPr 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583946" y="1728539"/>
            <a:ext cx="33055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</a:t>
            </a:r>
          </a:p>
          <a:p>
            <a:pPr algn="ctr"/>
            <a:r>
              <a:rPr lang="ru-RU" sz="16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«Задачники» </a:t>
            </a:r>
            <a:endParaRPr lang="ru-RU" sz="16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2-4,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7-9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,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10-11 классы</a:t>
            </a:r>
            <a:endParaRPr 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70240" y="2422661"/>
            <a:ext cx="40338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дивидуальные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учающие пособия </a:t>
            </a:r>
            <a:endParaRPr 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(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се виды грамотностей)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8231181" y="2447630"/>
            <a:ext cx="38447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ногофункциональные сборники задач </a:t>
            </a: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(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, углубленное изучение предмета, олимпиады)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313432" y="2444626"/>
            <a:ext cx="3962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борники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л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работки навыков решения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дач (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атематическая и естественно-научная грамотности)</a:t>
            </a:r>
          </a:p>
        </p:txBody>
      </p:sp>
      <p:cxnSp>
        <p:nvCxnSpPr>
          <p:cNvPr id="98" name="Прямая соединительная линия 97"/>
          <p:cNvCxnSpPr/>
          <p:nvPr/>
        </p:nvCxnSpPr>
        <p:spPr>
          <a:xfrm>
            <a:off x="4251934" y="1953513"/>
            <a:ext cx="16431" cy="2822181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>
            <a:off x="8217801" y="1960439"/>
            <a:ext cx="4090" cy="2815255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99"/>
          <p:cNvCxnSpPr/>
          <p:nvPr/>
        </p:nvCxnSpPr>
        <p:spPr>
          <a:xfrm>
            <a:off x="3922465" y="4775694"/>
            <a:ext cx="750871" cy="0"/>
          </a:xfrm>
          <a:prstGeom prst="straightConnector1">
            <a:avLst/>
          </a:prstGeom>
          <a:ln w="254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/>
          <p:nvPr/>
        </p:nvCxnSpPr>
        <p:spPr>
          <a:xfrm>
            <a:off x="7855746" y="4750963"/>
            <a:ext cx="750871" cy="0"/>
          </a:xfrm>
          <a:prstGeom prst="straightConnector1">
            <a:avLst/>
          </a:prstGeom>
          <a:ln w="254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2500" y="3438390"/>
            <a:ext cx="852797" cy="115560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021" y="3422651"/>
            <a:ext cx="883072" cy="119332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266" y="3671083"/>
            <a:ext cx="883072" cy="119592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8" name="Рисунок 67" descr="C:\Users\ABaburin\AppData\Local\Microsoft\Windows\Temporary Internet Files\Content.Word\Финансовая 2-2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062" y="4801174"/>
            <a:ext cx="866767" cy="117985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9" name="Рисунок 68" descr="C:\Users\ABaburin\AppData\Local\Microsoft\Windows\Temporary Internet Files\Content.Word\Финансовая 2-1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621" y="4978916"/>
            <a:ext cx="900768" cy="118963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0" name="Рисунок 69" descr="C:\Users\ABaburin\AppData\Local\Microsoft\Windows\Temporary Internet Files\Content.Word\Читательская 2-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632" y="4703675"/>
            <a:ext cx="757585" cy="1135146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1" name="Рисунок 70" descr="C:\Users\ABaburin\AppData\Local\Microsoft\Windows\Temporary Internet Files\Content.Word\Читательская 2-2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303" y="4913915"/>
            <a:ext cx="795968" cy="11336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106" y="3439787"/>
            <a:ext cx="851236" cy="115280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839" y="4802532"/>
            <a:ext cx="871183" cy="1157666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74" name="Picture 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36" t="16157" r="1798" b="8646"/>
          <a:stretch/>
        </p:blipFill>
        <p:spPr bwMode="auto">
          <a:xfrm>
            <a:off x="4710839" y="3524848"/>
            <a:ext cx="864611" cy="1157667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5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08" t="16909" r="1975" b="9232"/>
          <a:stretch/>
        </p:blipFill>
        <p:spPr bwMode="auto">
          <a:xfrm>
            <a:off x="5688144" y="3535462"/>
            <a:ext cx="864611" cy="1157667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Picture 6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95" t="16238" r="2007" b="8767"/>
          <a:stretch/>
        </p:blipFill>
        <p:spPr bwMode="auto">
          <a:xfrm>
            <a:off x="6667183" y="3528062"/>
            <a:ext cx="864611" cy="1157667"/>
          </a:xfrm>
          <a:prstGeom prst="rect">
            <a:avLst/>
          </a:prstGeom>
          <a:noFill/>
          <a:ln w="12700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172" y="4816079"/>
            <a:ext cx="869510" cy="1157667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572" y="4802532"/>
            <a:ext cx="871183" cy="115766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80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162" y="3575774"/>
            <a:ext cx="855888" cy="1154624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3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8767162" y="4837436"/>
            <a:ext cx="855888" cy="1154624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2" name="Picture 17" descr="https://catalog.prosv.ru/images/big/f08ca802-168a-11e6-9dd7-0050569c7d18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3445" y="4867005"/>
            <a:ext cx="855888" cy="1154624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 descr=" Информатика. Сборник задач по моделированию. Базовый и углубленный уровни. 10-11 классы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5892" y="4867005"/>
            <a:ext cx="855888" cy="1154624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2" descr="https://catalog.prosv.ru/images/big/ac0cf7a9-455a-11e9-ba45-0050569c7d18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2038" y="3567324"/>
            <a:ext cx="857321" cy="119394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География 5-11 классы: сборник задач и упражнений. Базовый и углубленный уровни.  В 2 ч. Ч 2. / И.С. Колечкин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8602" y="3563120"/>
            <a:ext cx="876796" cy="118282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063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/>
          <p:cNvPicPr/>
          <p:nvPr/>
        </p:nvPicPr>
        <p:blipFill rotWithShape="1">
          <a:blip r:embed="rId5"/>
          <a:srcRect l="31276" t="5708" r="32097" b="9725"/>
          <a:stretch/>
        </p:blipFill>
        <p:spPr bwMode="auto">
          <a:xfrm>
            <a:off x="1873319" y="2905944"/>
            <a:ext cx="1439671" cy="1891008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8" name="Прямоугольник 77"/>
          <p:cNvSpPr/>
          <p:nvPr/>
        </p:nvSpPr>
        <p:spPr>
          <a:xfrm>
            <a:off x="238408" y="6106707"/>
            <a:ext cx="11354295" cy="30094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52" name="Picture 3" descr="C:\Users\MRomanova\AppData\Local\Microsoft\Windows\Temporary Internet Files\Content.Outlook\1ALXYQT3\Cover2 (3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1653" y="2578400"/>
            <a:ext cx="1401443" cy="182754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1" name="Picture 71" descr="https://www.prosv.ru/_data/umk/706/fin_gram_sovr_mi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3523" y="2446753"/>
            <a:ext cx="1826543" cy="2381891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C:\Users\MRomanova\AppData\Local\Microsoft\Windows\Temporary Internet Files\Content.Outlook\1ALXYQT3\Cover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203" y="2245460"/>
            <a:ext cx="1482721" cy="1927788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093" y="2415061"/>
            <a:ext cx="1826543" cy="238189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5" name="Слайд think-cell" r:id="rId10" imgW="359" imgH="360" progId="TCLayout.ActiveDocument.1">
                  <p:embed/>
                </p:oleObj>
              </mc:Choice>
              <mc:Fallback>
                <p:oleObj name="Слайд think-cell" r:id="rId10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244876" y="6068035"/>
            <a:ext cx="11354295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5"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386052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881508" y="168036"/>
            <a:ext cx="9594474" cy="565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нания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выки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 области финансовой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мотности – новый элемент программы формирования универсальных учебных действий </a:t>
            </a: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0383099" y="4889254"/>
            <a:ext cx="144353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050" dirty="0"/>
              <a:t>ФП № 1.1.3.3.3.10.1</a:t>
            </a:r>
          </a:p>
          <a:p>
            <a:pPr algn="ctr" fontAlgn="t"/>
            <a:r>
              <a:rPr lang="ru-RU" sz="1050" dirty="0"/>
              <a:t>С.В. Толкачева</a:t>
            </a:r>
            <a:endParaRPr lang="ru-RU" sz="1050" spc="-30" dirty="0"/>
          </a:p>
        </p:txBody>
      </p:sp>
      <p:pic>
        <p:nvPicPr>
          <p:cNvPr id="41" name="Picture 3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08" t="5143" r="32877" b="9852"/>
          <a:stretch/>
        </p:blipFill>
        <p:spPr bwMode="auto">
          <a:xfrm>
            <a:off x="3664345" y="2442558"/>
            <a:ext cx="1865177" cy="2363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92532" y="4902610"/>
            <a:ext cx="191880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050" b="1" dirty="0"/>
              <a:t>НОВИНКА в 2 частях</a:t>
            </a:r>
          </a:p>
          <a:p>
            <a:pPr fontAlgn="t"/>
            <a:r>
              <a:rPr lang="ru-RU" sz="1050" dirty="0"/>
              <a:t>Е. Б. Хоменко, А. Г. </a:t>
            </a:r>
            <a:r>
              <a:rPr lang="ru-RU" sz="1050" dirty="0" smtClean="0"/>
              <a:t>Кузнецова</a:t>
            </a:r>
          </a:p>
          <a:p>
            <a:pPr fontAlgn="t"/>
            <a:r>
              <a:rPr lang="ru-RU" sz="1050" spc="-30" dirty="0"/>
              <a:t>Готовится к включению в </a:t>
            </a:r>
            <a:r>
              <a:rPr lang="ru-RU" sz="1050" spc="-30" dirty="0" smtClean="0"/>
              <a:t>ФПУ</a:t>
            </a:r>
            <a:endParaRPr lang="ru-RU" sz="1050" spc="-3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96621" y="5052571"/>
            <a:ext cx="31875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050" dirty="0"/>
              <a:t>Калашникова Н.Г. , Белорукова Е.М., </a:t>
            </a:r>
            <a:r>
              <a:rPr lang="ru-RU" sz="1050" dirty="0" err="1"/>
              <a:t>Жаркова</a:t>
            </a:r>
            <a:r>
              <a:rPr lang="ru-RU" sz="1050" dirty="0"/>
              <a:t> Е.Н</a:t>
            </a:r>
            <a:r>
              <a:rPr lang="ru-RU" sz="1050" dirty="0" smtClean="0"/>
              <a:t>.</a:t>
            </a:r>
          </a:p>
          <a:p>
            <a:pPr lvl="0" algn="ctr">
              <a:defRPr/>
            </a:pPr>
            <a:r>
              <a:rPr lang="ru-RU" sz="1050" dirty="0" smtClean="0"/>
              <a:t>Готовится к включению в ФПУ</a:t>
            </a:r>
            <a:endParaRPr lang="ru-RU" sz="105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519131" y="5002849"/>
            <a:ext cx="225828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050" dirty="0" err="1"/>
              <a:t>Лавренова</a:t>
            </a:r>
            <a:r>
              <a:rPr lang="ru-RU" sz="1050" dirty="0"/>
              <a:t> Е.Б. , Лаврентьева О.Н. </a:t>
            </a:r>
            <a:endParaRPr lang="ru-RU" sz="1050" dirty="0" smtClean="0"/>
          </a:p>
          <a:p>
            <a:pPr algn="ctr" fontAlgn="t"/>
            <a:r>
              <a:rPr lang="ru-RU" sz="1050" dirty="0"/>
              <a:t>ФП № </a:t>
            </a:r>
            <a:r>
              <a:rPr lang="ru-RU" sz="1050" dirty="0" smtClean="0"/>
              <a:t>2.1.2.1.2.3.1</a:t>
            </a:r>
            <a:endParaRPr lang="ru-RU" sz="105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995392" y="5011846"/>
            <a:ext cx="18822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/>
              <a:t>Чумаченко В.В., Горяев А.П. </a:t>
            </a:r>
            <a:endParaRPr lang="ru-RU" sz="1050" dirty="0" smtClean="0"/>
          </a:p>
          <a:p>
            <a:pPr algn="ctr"/>
            <a:r>
              <a:rPr lang="ru-RU" sz="1050" dirty="0" smtClean="0">
                <a:ea typeface="Open Sans" pitchFamily="34" charset="0"/>
                <a:cs typeface="Open Sans" pitchFamily="34" charset="0"/>
              </a:rPr>
              <a:t>ФП № 2.1.2.1.2.2.1</a:t>
            </a:r>
            <a:endParaRPr lang="ru-RU" sz="1050" dirty="0"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3392451" y="1540368"/>
            <a:ext cx="6516321" cy="719438"/>
            <a:chOff x="3183141" y="0"/>
            <a:chExt cx="3533600" cy="1239985"/>
          </a:xfrm>
          <a:solidFill>
            <a:srgbClr val="D8EBF4"/>
          </a:solidFill>
        </p:grpSpPr>
        <p:sp>
          <p:nvSpPr>
            <p:cNvPr id="48" name="Шеврон 47"/>
            <p:cNvSpPr/>
            <p:nvPr/>
          </p:nvSpPr>
          <p:spPr>
            <a:xfrm>
              <a:off x="3183141" y="0"/>
              <a:ext cx="3533600" cy="1239985"/>
            </a:xfrm>
            <a:prstGeom prst="chevron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Шеврон 4"/>
            <p:cNvSpPr txBox="1"/>
            <p:nvPr/>
          </p:nvSpPr>
          <p:spPr>
            <a:xfrm>
              <a:off x="3803134" y="0"/>
              <a:ext cx="2293615" cy="12399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28" tIns="74676" rIns="74676" bIns="74676" numCol="1" spcCol="1270" anchor="ctr" anchorCtr="0">
              <a:noAutofit/>
            </a:bodyPr>
            <a:lstStyle/>
            <a:p>
              <a:pPr algn="ctr" defTabSz="2489200">
                <a:spcBef>
                  <a:spcPct val="0"/>
                </a:spcBef>
              </a:pPr>
              <a:r>
                <a:rPr lang="ru-RU" sz="1600" dirty="0">
                  <a:solidFill>
                    <a:schemeClr val="tx1"/>
                  </a:solidFill>
                </a:rPr>
                <a:t>Основная школа </a:t>
              </a:r>
            </a:p>
            <a:p>
              <a:pPr algn="ctr" defTabSz="2489200">
                <a:spcBef>
                  <a:spcPct val="0"/>
                </a:spcBef>
              </a:pPr>
              <a:r>
                <a:rPr lang="ru-RU" sz="1600" dirty="0">
                  <a:solidFill>
                    <a:schemeClr val="tx1"/>
                  </a:solidFill>
                </a:rPr>
                <a:t>5 – 9 классы 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705937" y="1535648"/>
            <a:ext cx="3068042" cy="719438"/>
            <a:chOff x="3183141" y="0"/>
            <a:chExt cx="3533600" cy="1239985"/>
          </a:xfrm>
          <a:solidFill>
            <a:srgbClr val="D8EBF4"/>
          </a:solidFill>
        </p:grpSpPr>
        <p:sp>
          <p:nvSpPr>
            <p:cNvPr id="53" name="Шеврон 52"/>
            <p:cNvSpPr/>
            <p:nvPr/>
          </p:nvSpPr>
          <p:spPr>
            <a:xfrm>
              <a:off x="3183141" y="0"/>
              <a:ext cx="3533600" cy="1239985"/>
            </a:xfrm>
            <a:prstGeom prst="chevron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Шеврон 4"/>
            <p:cNvSpPr txBox="1"/>
            <p:nvPr/>
          </p:nvSpPr>
          <p:spPr>
            <a:xfrm>
              <a:off x="3803134" y="0"/>
              <a:ext cx="2293615" cy="12399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28" tIns="74676" rIns="74676" bIns="74676" numCol="1" spcCol="1270" anchor="ctr" anchorCtr="0">
              <a:noAutofit/>
            </a:bodyPr>
            <a:lstStyle/>
            <a:p>
              <a:pPr lvl="0" algn="ctr" defTabSz="24892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/>
                  </a:solidFill>
                </a:rPr>
                <a:t>Начальная</a:t>
              </a:r>
              <a:r>
                <a:rPr lang="ru-RU" sz="1600" kern="1200" dirty="0" smtClean="0">
                  <a:solidFill>
                    <a:schemeClr val="tx1"/>
                  </a:solidFill>
                </a:rPr>
                <a:t> школа</a:t>
              </a:r>
            </a:p>
            <a:p>
              <a:pPr lvl="0" algn="ctr" defTabSz="24892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/>
                  </a:solidFill>
                </a:rPr>
                <a:t>2 – 4 классы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9567949" y="1540368"/>
            <a:ext cx="2535382" cy="719438"/>
            <a:chOff x="3043717" y="0"/>
            <a:chExt cx="3792351" cy="1239985"/>
          </a:xfrm>
          <a:solidFill>
            <a:srgbClr val="D8EBF4"/>
          </a:solidFill>
        </p:grpSpPr>
        <p:sp>
          <p:nvSpPr>
            <p:cNvPr id="79" name="Шеврон 78"/>
            <p:cNvSpPr/>
            <p:nvPr/>
          </p:nvSpPr>
          <p:spPr>
            <a:xfrm>
              <a:off x="3043717" y="0"/>
              <a:ext cx="3792351" cy="1239985"/>
            </a:xfrm>
            <a:prstGeom prst="chevron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0" name="Шеврон 4"/>
            <p:cNvSpPr txBox="1"/>
            <p:nvPr/>
          </p:nvSpPr>
          <p:spPr>
            <a:xfrm>
              <a:off x="3803133" y="0"/>
              <a:ext cx="2530803" cy="12399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28" tIns="74676" rIns="74676" bIns="74676" numCol="1" spcCol="1270" anchor="ctr" anchorCtr="0">
              <a:noAutofit/>
            </a:bodyPr>
            <a:lstStyle/>
            <a:p>
              <a:pPr lvl="0" algn="ctr" defTabSz="2489200">
                <a:spcBef>
                  <a:spcPct val="0"/>
                </a:spcBef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Средняя школа</a:t>
              </a:r>
            </a:p>
            <a:p>
              <a:pPr lvl="0" algn="ctr" defTabSz="2489200">
                <a:spcBef>
                  <a:spcPct val="0"/>
                </a:spcBef>
              </a:pPr>
              <a:r>
                <a:rPr lang="ru-RU" sz="1600" dirty="0" smtClean="0">
                  <a:solidFill>
                    <a:schemeClr val="tx1"/>
                  </a:solidFill>
                </a:rPr>
                <a:t>10 – 11 классы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1797249" y="844805"/>
            <a:ext cx="10029387" cy="3298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епрерывный учебный курс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253" y="2442558"/>
            <a:ext cx="1791653" cy="2401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5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1032064"/>
            <a:ext cx="12189859" cy="949819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42500" y="160319"/>
            <a:ext cx="10029387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беспечение требований к условиям реализации </a:t>
            </a: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</a:t>
            </a:r>
          </a:p>
          <a:p>
            <a:pPr>
              <a:lnSpc>
                <a:spcPct val="85000"/>
              </a:lnSpc>
              <a:defRPr/>
            </a:pP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сознанный выбор и построение индивидуальной траектории образования </a:t>
            </a:r>
            <a:endParaRPr lang="ru-RU" dirty="0" smtClean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66352" y="1307975"/>
            <a:ext cx="115658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азвитие личности через организацию профессиональных проб, практической подготовки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774190" y="5323504"/>
            <a:ext cx="28196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400" dirty="0"/>
              <a:t>ФП 1.1.2.7.1.7.1</a:t>
            </a:r>
          </a:p>
          <a:p>
            <a:pPr algn="ctr" fontAlgn="t"/>
            <a:r>
              <a:rPr lang="ru-RU" sz="1400" dirty="0" err="1"/>
              <a:t>Резапкина</a:t>
            </a:r>
            <a:r>
              <a:rPr lang="ru-RU" sz="1400" dirty="0"/>
              <a:t> Г.В.</a:t>
            </a: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4770" y="2380427"/>
            <a:ext cx="2143123" cy="2761331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1221" y="2380427"/>
            <a:ext cx="2149414" cy="277288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823593" y="5323504"/>
            <a:ext cx="48361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400" dirty="0"/>
              <a:t>Разработано совместно с Центром тестирования и развития «Гуманитарные технологии» МГУ</a:t>
            </a:r>
          </a:p>
        </p:txBody>
      </p:sp>
      <p:pic>
        <p:nvPicPr>
          <p:cNvPr id="74754" name="Picture 2" descr="https://static.ict.moscow/files/productcard/logo/23316409_1959040897682406_925192355168744498_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963" y="2380427"/>
            <a:ext cx="2812480" cy="2812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8977744" y="5335054"/>
            <a:ext cx="30544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400" dirty="0" smtClean="0"/>
              <a:t>Цифровой сервис карьерного развития детей </a:t>
            </a:r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64" y="2380426"/>
            <a:ext cx="2003529" cy="281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64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Прямоугольник 113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bject 8"/>
          <p:cNvSpPr/>
          <p:nvPr/>
        </p:nvSpPr>
        <p:spPr>
          <a:xfrm>
            <a:off x="3156610" y="2770630"/>
            <a:ext cx="1107820" cy="160517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9525">
            <a:solidFill>
              <a:schemeClr val="bg2">
                <a:lumMod val="90000"/>
              </a:schemeClr>
            </a:solidFill>
          </a:ln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111" name="TextBox 110"/>
          <p:cNvSpPr txBox="1"/>
          <p:nvPr/>
        </p:nvSpPr>
        <p:spPr>
          <a:xfrm>
            <a:off x="1896889" y="1149692"/>
            <a:ext cx="9579092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сные решени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К «Просвещение» для формирования у обучающихся опыта самостоятельной деятельности: проектной, учебно-исследовательской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631084" y="5120640"/>
            <a:ext cx="3894428" cy="5472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4409274" y="2014586"/>
            <a:ext cx="16291" cy="41532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H="1">
            <a:off x="8253461" y="2050751"/>
            <a:ext cx="16291" cy="41532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0198" y="2766089"/>
            <a:ext cx="1209426" cy="161452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48" name="Нашивка 161"/>
          <p:cNvSpPr/>
          <p:nvPr/>
        </p:nvSpPr>
        <p:spPr>
          <a:xfrm>
            <a:off x="1458705" y="3328761"/>
            <a:ext cx="194853" cy="32717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9" name="Нашивка 161"/>
          <p:cNvSpPr/>
          <p:nvPr/>
        </p:nvSpPr>
        <p:spPr>
          <a:xfrm>
            <a:off x="2942909" y="3335142"/>
            <a:ext cx="194853" cy="32717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67512" y="1949814"/>
            <a:ext cx="3861349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о-методическое обеспечение</a:t>
            </a:r>
            <a:endParaRPr lang="ru-RU" sz="16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886469" y="1895131"/>
            <a:ext cx="2837394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20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Цифровые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висы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261606" y="1930960"/>
            <a:ext cx="31916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разовательная инфраструктура с применением инновационных  решений мирового уровня</a:t>
            </a:r>
          </a:p>
          <a:p>
            <a:pPr lvl="0" algn="ctr"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67" y="2774430"/>
            <a:ext cx="1187569" cy="1599196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  <a:effectLst/>
        </p:spPr>
      </p:pic>
      <p:sp>
        <p:nvSpPr>
          <p:cNvPr id="82" name="TextBox 81"/>
          <p:cNvSpPr txBox="1"/>
          <p:nvPr/>
        </p:nvSpPr>
        <p:spPr>
          <a:xfrm>
            <a:off x="137987" y="4489841"/>
            <a:ext cx="41908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одульный подход к представлению материала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се этапы исследовательской деятельности и проектной работы: от выбора темы и обоснования её актуальности до представления выполненной работы в публичном пространстве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49869" y="4425873"/>
            <a:ext cx="37298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шаговый алгоритм ведения проектной деятельности для учителей и учеников с методическими рекомендациями по каждому </a:t>
            </a:r>
            <a:r>
              <a:rPr lang="ru-RU" sz="1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шагу</a:t>
            </a:r>
            <a:endParaRPr lang="ru-RU" sz="1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Банк готовых проектов, шаблонов , тем и проблем по различным </a:t>
            </a:r>
            <a:r>
              <a:rPr lang="ru-RU" sz="1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ид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Единые критерии оценивания проектов для учителей и для самооценки учеников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8338315" y="4473038"/>
            <a:ext cx="32372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женерны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IT-</a:t>
            </a: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</a:t>
            </a:r>
            <a:r>
              <a:rPr lang="ru-RU" sz="12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лигон</a:t>
            </a:r>
            <a:endParaRPr lang="ru-RU" sz="12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Робототехн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дицин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Агротехнолог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етеринарны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Академический клас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Лаборатория генетических исследов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нвергентная </a:t>
            </a:r>
            <a:r>
              <a:rPr lang="ru-RU" sz="12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лаборатор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Экологическая </a:t>
            </a:r>
            <a:r>
              <a:rPr lang="ru-RU" sz="12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лаборатория</a:t>
            </a:r>
            <a:endParaRPr lang="ru-RU" sz="12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360" y="2835279"/>
            <a:ext cx="2627896" cy="16687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795356" y="157503"/>
            <a:ext cx="874023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владение основными навыками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роектной и исследовательской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еятельности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0409" y="2736647"/>
            <a:ext cx="3575303" cy="1576800"/>
          </a:xfrm>
          <a:prstGeom prst="rect">
            <a:avLst/>
          </a:prstGeom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346411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035604" y="1913694"/>
            <a:ext cx="8430738" cy="1161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Автор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– профессиональные учёные-генетики и педагоги, которые занимаются разными направлениями генетической науки</a:t>
            </a:r>
          </a:p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риентировано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 практическую деятельность через интеллектуальные исследования, виртуальные лабораторные работы и реальный практикум со специализированным оборудованием</a:t>
            </a:r>
          </a:p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одержит задачи по генетике, аналогичные заданиям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ЕГЭ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школьным биологическим олимпиадам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92574" y="1248110"/>
            <a:ext cx="86566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Практическая молекулярная генетика для начинающих. 8—9 классы»</a:t>
            </a:r>
          </a:p>
          <a:p>
            <a:r>
              <a:rPr lang="ru-RU" sz="14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од ред. Бородина  П.М., Ворониной Е.Н. </a:t>
            </a:r>
          </a:p>
          <a:p>
            <a:endParaRPr lang="ru-RU" sz="14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117200" y="4214252"/>
            <a:ext cx="9129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Генетика. 10—11 классы» Кузьмин И.В., </a:t>
            </a:r>
            <a:r>
              <a:rPr lang="ru-RU" sz="1400" dirty="0" err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авренов</a:t>
            </a:r>
            <a:r>
              <a:rPr lang="ru-RU" sz="14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А.Р., Кукушкина И.В., Мустафин А.Г. и др. </a:t>
            </a:r>
          </a:p>
          <a:p>
            <a:endParaRPr lang="ru-RU" sz="14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117199" y="4797305"/>
            <a:ext cx="8349143" cy="134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едставлены материалы по классической и современной генетике, основные достижения и перспективы развития науки</a:t>
            </a:r>
          </a:p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етально разобраны методы молекулярной генетики и генной инженерии, технологии секвенирования нового поколения</a:t>
            </a:r>
          </a:p>
          <a:p>
            <a:pPr marL="284400" lvl="0" indent="-284400">
              <a:lnSpc>
                <a:spcPct val="85000"/>
              </a:lnSpc>
              <a:spcBef>
                <a:spcPts val="600"/>
              </a:spcBef>
              <a:buClr>
                <a:srgbClr val="4383DD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дробные алгоритмы решения всех видов задач по генетике завершают соответствующие разделы курса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19"/>
          <a:stretch/>
        </p:blipFill>
        <p:spPr>
          <a:xfrm>
            <a:off x="223176" y="4134965"/>
            <a:ext cx="1530179" cy="2108453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52" y="1264182"/>
            <a:ext cx="1530179" cy="2108453"/>
          </a:xfrm>
          <a:prstGeom prst="rect">
            <a:avLst/>
          </a:prstGeom>
          <a:ln>
            <a:noFill/>
          </a:ln>
          <a:effectLst>
            <a:outerShdw blurRad="241300" dist="38100" dir="2700000" algn="ctr" rotWithShape="0">
              <a:srgbClr val="000000">
                <a:alpha val="23000"/>
              </a:srgbClr>
            </a:outerShdw>
          </a:effectLst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0" name="Прямая соединительная линия 3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913542" y="49309"/>
            <a:ext cx="832286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новление содержания образования 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76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343886" y="830"/>
            <a:ext cx="6850833" cy="6858000"/>
          </a:xfrm>
          <a:prstGeom prst="rect">
            <a:avLst/>
          </a:prstGeom>
          <a:solidFill>
            <a:srgbClr val="2C4F8F"/>
          </a:solidFill>
        </p:spPr>
      </p:sp>
      <p:grpSp>
        <p:nvGrpSpPr>
          <p:cNvPr id="3" name="Group 3"/>
          <p:cNvGrpSpPr/>
          <p:nvPr/>
        </p:nvGrpSpPr>
        <p:grpSpPr>
          <a:xfrm>
            <a:off x="685800" y="5637100"/>
            <a:ext cx="892237" cy="535101"/>
            <a:chOff x="0" y="0"/>
            <a:chExt cx="1784474" cy="1070201"/>
          </a:xfrm>
        </p:grpSpPr>
        <p:grpSp>
          <p:nvGrpSpPr>
            <p:cNvPr id="4" name="Group 4"/>
            <p:cNvGrpSpPr/>
            <p:nvPr/>
          </p:nvGrpSpPr>
          <p:grpSpPr>
            <a:xfrm>
              <a:off x="0" y="0"/>
              <a:ext cx="1784474" cy="1070201"/>
              <a:chOff x="0" y="0"/>
              <a:chExt cx="865399" cy="518160"/>
            </a:xfrm>
          </p:grpSpPr>
          <p:sp>
            <p:nvSpPr>
              <p:cNvPr id="5" name="Freeform 5"/>
              <p:cNvSpPr/>
              <p:nvPr/>
            </p:nvSpPr>
            <p:spPr>
              <a:xfrm>
                <a:off x="6350" y="6360"/>
                <a:ext cx="852699" cy="506284"/>
              </a:xfrm>
              <a:custGeom>
                <a:avLst/>
                <a:gdLst/>
                <a:ahLst/>
                <a:cxnLst/>
                <a:rect l="l" t="t" r="r" b="b"/>
                <a:pathLst>
                  <a:path w="852699" h="506284">
                    <a:moveTo>
                      <a:pt x="252730" y="0"/>
                    </a:moveTo>
                    <a:lnTo>
                      <a:pt x="599969" y="0"/>
                    </a:lnTo>
                    <a:cubicBezTo>
                      <a:pt x="739669" y="0"/>
                      <a:pt x="852699" y="113215"/>
                      <a:pt x="852699" y="253143"/>
                    </a:cubicBezTo>
                    <a:cubicBezTo>
                      <a:pt x="852699" y="393070"/>
                      <a:pt x="739669" y="506285"/>
                      <a:pt x="599969" y="506285"/>
                    </a:cubicBezTo>
                    <a:lnTo>
                      <a:pt x="252730" y="506285"/>
                    </a:lnTo>
                    <a:cubicBezTo>
                      <a:pt x="113030" y="506285"/>
                      <a:pt x="0" y="393070"/>
                      <a:pt x="0" y="253143"/>
                    </a:cubicBezTo>
                    <a:cubicBezTo>
                      <a:pt x="0" y="113215"/>
                      <a:pt x="113030" y="0"/>
                      <a:pt x="252730" y="0"/>
                    </a:cubicBezTo>
                    <a:close/>
                  </a:path>
                </a:pathLst>
              </a:custGeom>
              <a:solidFill>
                <a:srgbClr val="3A60A7"/>
              </a:solidFill>
            </p:spPr>
          </p:sp>
        </p:grpSp>
        <p:grpSp>
          <p:nvGrpSpPr>
            <p:cNvPr id="6" name="Group 6"/>
            <p:cNvGrpSpPr/>
            <p:nvPr/>
          </p:nvGrpSpPr>
          <p:grpSpPr>
            <a:xfrm>
              <a:off x="393198" y="401024"/>
              <a:ext cx="998079" cy="315171"/>
              <a:chOff x="0" y="0"/>
              <a:chExt cx="1359375" cy="42926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-5080"/>
                <a:ext cx="1359375" cy="434340"/>
              </a:xfrm>
              <a:custGeom>
                <a:avLst/>
                <a:gdLst/>
                <a:ahLst/>
                <a:cxnLst/>
                <a:rect l="l" t="t" r="r" b="b"/>
                <a:pathLst>
                  <a:path w="1359375" h="434340">
                    <a:moveTo>
                      <a:pt x="1341595" y="187960"/>
                    </a:moveTo>
                    <a:lnTo>
                      <a:pt x="1079975" y="11430"/>
                    </a:lnTo>
                    <a:cubicBezTo>
                      <a:pt x="1062195" y="0"/>
                      <a:pt x="1039335" y="3810"/>
                      <a:pt x="1026635" y="21590"/>
                    </a:cubicBezTo>
                    <a:cubicBezTo>
                      <a:pt x="1015205" y="39370"/>
                      <a:pt x="1019015" y="62230"/>
                      <a:pt x="1036795" y="74930"/>
                    </a:cubicBezTo>
                    <a:lnTo>
                      <a:pt x="1195545" y="181610"/>
                    </a:lnTo>
                    <a:lnTo>
                      <a:pt x="0" y="181610"/>
                    </a:lnTo>
                    <a:lnTo>
                      <a:pt x="0" y="257810"/>
                    </a:lnTo>
                    <a:lnTo>
                      <a:pt x="1195545" y="257810"/>
                    </a:lnTo>
                    <a:lnTo>
                      <a:pt x="1036795" y="364490"/>
                    </a:lnTo>
                    <a:cubicBezTo>
                      <a:pt x="1019015" y="375920"/>
                      <a:pt x="1015205" y="400050"/>
                      <a:pt x="1026635" y="417830"/>
                    </a:cubicBezTo>
                    <a:cubicBezTo>
                      <a:pt x="1034255" y="429260"/>
                      <a:pt x="1045685" y="434340"/>
                      <a:pt x="1058385" y="434340"/>
                    </a:cubicBezTo>
                    <a:cubicBezTo>
                      <a:pt x="1066005" y="434340"/>
                      <a:pt x="1073625" y="431800"/>
                      <a:pt x="1079975" y="427990"/>
                    </a:cubicBezTo>
                    <a:lnTo>
                      <a:pt x="1342865" y="251460"/>
                    </a:lnTo>
                    <a:cubicBezTo>
                      <a:pt x="1353025" y="243840"/>
                      <a:pt x="1359375" y="232410"/>
                      <a:pt x="1359375" y="219710"/>
                    </a:cubicBezTo>
                    <a:cubicBezTo>
                      <a:pt x="1359375" y="207010"/>
                      <a:pt x="1353025" y="195580"/>
                      <a:pt x="1341595" y="18796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</p:sp>
        </p:grpSp>
      </p:grpSp>
      <p:grpSp>
        <p:nvGrpSpPr>
          <p:cNvPr id="8" name="Group 8"/>
          <p:cNvGrpSpPr/>
          <p:nvPr/>
        </p:nvGrpSpPr>
        <p:grpSpPr>
          <a:xfrm>
            <a:off x="4411645" y="2534758"/>
            <a:ext cx="7092347" cy="589442"/>
            <a:chOff x="0" y="0"/>
            <a:chExt cx="6239528" cy="6604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10" name="Group 10"/>
          <p:cNvGrpSpPr/>
          <p:nvPr/>
        </p:nvGrpSpPr>
        <p:grpSpPr>
          <a:xfrm>
            <a:off x="4413853" y="1041400"/>
            <a:ext cx="7092347" cy="611813"/>
            <a:chOff x="0" y="0"/>
            <a:chExt cx="6239528" cy="66040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4413853" y="272658"/>
            <a:ext cx="7092347" cy="584269"/>
            <a:chOff x="0" y="0"/>
            <a:chExt cx="6239528" cy="6604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4413853" y="3276600"/>
            <a:ext cx="7092347" cy="557369"/>
            <a:chOff x="0" y="0"/>
            <a:chExt cx="6239528" cy="6604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16" name="Group 16"/>
          <p:cNvGrpSpPr/>
          <p:nvPr/>
        </p:nvGrpSpPr>
        <p:grpSpPr>
          <a:xfrm>
            <a:off x="4385684" y="1795035"/>
            <a:ext cx="7092347" cy="558483"/>
            <a:chOff x="0" y="0"/>
            <a:chExt cx="6239528" cy="660400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18" name="Group 18"/>
          <p:cNvGrpSpPr/>
          <p:nvPr/>
        </p:nvGrpSpPr>
        <p:grpSpPr>
          <a:xfrm>
            <a:off x="4413853" y="3987800"/>
            <a:ext cx="7092347" cy="619968"/>
            <a:chOff x="0" y="0"/>
            <a:chExt cx="6239528" cy="6604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20" name="TextBox 20"/>
          <p:cNvSpPr txBox="1"/>
          <p:nvPr/>
        </p:nvSpPr>
        <p:spPr>
          <a:xfrm>
            <a:off x="369094" y="1928216"/>
            <a:ext cx="3487714" cy="11079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ФГОС – 2021 </a:t>
            </a:r>
            <a:endParaRPr lang="ru-RU" sz="2400" spc="-20" dirty="0" smtClean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  <a:p>
            <a:r>
              <a:rPr lang="ru-RU" sz="2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Цифровые </a:t>
            </a: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решения от </a:t>
            </a:r>
            <a:endParaRPr lang="en-US" sz="24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  <a:p>
            <a:r>
              <a:rPr lang="ru-RU" sz="2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ГК </a:t>
            </a:r>
            <a:r>
              <a:rPr lang="en-US" sz="2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«</a:t>
            </a:r>
            <a:r>
              <a:rPr lang="en-US" sz="2400" spc="-20" dirty="0" err="1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Просвещени</a:t>
            </a: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е</a:t>
            </a:r>
            <a:r>
              <a:rPr lang="en-US" sz="2400" spc="-20" dirty="0" smtClean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»</a:t>
            </a:r>
            <a:endParaRPr lang="en-US" sz="2400" spc="-20" dirty="0">
              <a:solidFill>
                <a:srgbClr val="2D2B8D"/>
              </a:solidFill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21" name="TextBox 21"/>
          <p:cNvSpPr txBox="1"/>
          <p:nvPr/>
        </p:nvSpPr>
        <p:spPr>
          <a:xfrm>
            <a:off x="4730451" y="2604952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4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22" name="TextBox 22"/>
          <p:cNvSpPr txBox="1"/>
          <p:nvPr/>
        </p:nvSpPr>
        <p:spPr>
          <a:xfrm>
            <a:off x="5341167" y="1909869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en-US" sz="1733" dirty="0" err="1">
                <a:solidFill>
                  <a:srgbClr val="14110F"/>
                </a:solidFill>
                <a:latin typeface="Lato"/>
              </a:rPr>
              <a:t>Учим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стихи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Мотивация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к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изучению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литературы</a:t>
            </a:r>
            <a:endParaRPr lang="en-US" sz="1733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4732660" y="1089988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3200" spc="-32">
                <a:solidFill>
                  <a:srgbClr val="B8BBC4"/>
                </a:solidFill>
                <a:latin typeface="Lato"/>
              </a:rPr>
              <a:t>2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5341167" y="376813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en-US" sz="1733" dirty="0" err="1">
                <a:solidFill>
                  <a:srgbClr val="14110F"/>
                </a:solidFill>
                <a:latin typeface="Lato"/>
              </a:rPr>
              <a:t>ПРОвоспитание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Организация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воспитательной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работы</a:t>
            </a:r>
            <a:endParaRPr lang="en-US" sz="1733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4732660" y="330200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1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5341167" y="3431214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en-US" sz="1733">
                <a:solidFill>
                  <a:srgbClr val="14110F"/>
                </a:solidFill>
                <a:latin typeface="Lato"/>
              </a:rPr>
              <a:t>Учимся вместе. Помощь родителям школьников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4732660" y="3324746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5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5362335" y="1046747"/>
            <a:ext cx="6209338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7"/>
              </a:lnSpc>
            </a:pPr>
            <a:r>
              <a:rPr lang="en-US" sz="1733" dirty="0" err="1">
                <a:solidFill>
                  <a:srgbClr val="14110F"/>
                </a:solidFill>
                <a:latin typeface="Lato"/>
              </a:rPr>
              <a:t>Лаборатория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проектов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Обучение и сопровождение проектной деятельности</a:t>
            </a:r>
            <a:endParaRPr lang="en-US" sz="1733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4732660" y="1803400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3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5341167" y="4122628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en-US" sz="1733">
                <a:solidFill>
                  <a:srgbClr val="14110F"/>
                </a:solidFill>
                <a:latin typeface="Lato"/>
              </a:rPr>
              <a:t>Я сдам ЕГЭ. Актуальная база заданий для подготовки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732660" y="3987800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3200" spc="-32">
                <a:solidFill>
                  <a:srgbClr val="B8BBC4"/>
                </a:solidFill>
                <a:latin typeface="Lato"/>
              </a:rPr>
              <a:t>6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5338958" y="2711420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ru-RU" sz="1733" dirty="0" err="1">
                <a:solidFill>
                  <a:srgbClr val="14110F"/>
                </a:solidFill>
                <a:latin typeface="Lato"/>
              </a:rPr>
              <a:t>Начинайзер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Грамотное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развитие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дошкольников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</a:p>
        </p:txBody>
      </p:sp>
      <p:grpSp>
        <p:nvGrpSpPr>
          <p:cNvPr id="39" name="Group 8"/>
          <p:cNvGrpSpPr/>
          <p:nvPr/>
        </p:nvGrpSpPr>
        <p:grpSpPr>
          <a:xfrm>
            <a:off x="4419601" y="4708790"/>
            <a:ext cx="7092347" cy="589442"/>
            <a:chOff x="0" y="0"/>
            <a:chExt cx="6239528" cy="660400"/>
          </a:xfrm>
        </p:grpSpPr>
        <p:sp>
          <p:nvSpPr>
            <p:cNvPr id="40" name="Freeform 9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1" name="Group 14"/>
          <p:cNvGrpSpPr/>
          <p:nvPr/>
        </p:nvGrpSpPr>
        <p:grpSpPr>
          <a:xfrm>
            <a:off x="4421809" y="5450632"/>
            <a:ext cx="7092347" cy="557369"/>
            <a:chOff x="0" y="0"/>
            <a:chExt cx="6239528" cy="660400"/>
          </a:xfrm>
        </p:grpSpPr>
        <p:sp>
          <p:nvSpPr>
            <p:cNvPr id="42" name="Freeform 15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3" name="Group 18"/>
          <p:cNvGrpSpPr/>
          <p:nvPr/>
        </p:nvGrpSpPr>
        <p:grpSpPr>
          <a:xfrm>
            <a:off x="4421809" y="6161832"/>
            <a:ext cx="7092347" cy="619968"/>
            <a:chOff x="0" y="0"/>
            <a:chExt cx="6239528" cy="660400"/>
          </a:xfrm>
        </p:grpSpPr>
        <p:sp>
          <p:nvSpPr>
            <p:cNvPr id="44" name="Freeform 19"/>
            <p:cNvSpPr/>
            <p:nvPr/>
          </p:nvSpPr>
          <p:spPr>
            <a:xfrm>
              <a:off x="0" y="0"/>
              <a:ext cx="6239528" cy="660400"/>
            </a:xfrm>
            <a:custGeom>
              <a:avLst/>
              <a:gdLst/>
              <a:ahLst/>
              <a:cxnLst/>
              <a:rect l="l" t="t" r="r" b="b"/>
              <a:pathLst>
                <a:path w="6239528" h="660400">
                  <a:moveTo>
                    <a:pt x="6115068" y="660400"/>
                  </a:moveTo>
                  <a:lnTo>
                    <a:pt x="124460" y="660400"/>
                  </a:lnTo>
                  <a:cubicBezTo>
                    <a:pt x="55880" y="660400"/>
                    <a:pt x="0" y="604520"/>
                    <a:pt x="0" y="53594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115068" y="0"/>
                  </a:lnTo>
                  <a:cubicBezTo>
                    <a:pt x="6183648" y="0"/>
                    <a:pt x="6239528" y="55880"/>
                    <a:pt x="6239528" y="124460"/>
                  </a:cubicBezTo>
                  <a:lnTo>
                    <a:pt x="6239528" y="535940"/>
                  </a:lnTo>
                  <a:cubicBezTo>
                    <a:pt x="6239528" y="604520"/>
                    <a:pt x="6183648" y="660400"/>
                    <a:pt x="6115068" y="66040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45" name="TextBox 21"/>
          <p:cNvSpPr txBox="1"/>
          <p:nvPr/>
        </p:nvSpPr>
        <p:spPr>
          <a:xfrm>
            <a:off x="4738407" y="4778984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7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46" name="TextBox 26"/>
          <p:cNvSpPr txBox="1"/>
          <p:nvPr/>
        </p:nvSpPr>
        <p:spPr>
          <a:xfrm>
            <a:off x="5349123" y="5605246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ru-RU" sz="1733" dirty="0">
                <a:solidFill>
                  <a:srgbClr val="14110F"/>
                </a:solidFill>
                <a:latin typeface="Lato"/>
              </a:rPr>
              <a:t>Банк заданий по функциональной грамотности</a:t>
            </a:r>
            <a:endParaRPr lang="en-US" sz="1733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47" name="TextBox 27"/>
          <p:cNvSpPr txBox="1"/>
          <p:nvPr/>
        </p:nvSpPr>
        <p:spPr>
          <a:xfrm>
            <a:off x="4740616" y="5498778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8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48" name="TextBox 30"/>
          <p:cNvSpPr txBox="1"/>
          <p:nvPr/>
        </p:nvSpPr>
        <p:spPr>
          <a:xfrm>
            <a:off x="5349124" y="6190456"/>
            <a:ext cx="5979277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ru-RU" sz="1733" dirty="0">
                <a:solidFill>
                  <a:srgbClr val="14110F"/>
                </a:solidFill>
                <a:latin typeface="Lato"/>
              </a:rPr>
              <a:t>Домашние задания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Сервис выдачи домашних заданий 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  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1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867" spc="36" dirty="0">
                <a:solidFill>
                  <a:srgbClr val="14110F"/>
                </a:solidFill>
                <a:latin typeface="Lato"/>
              </a:rPr>
              <a:t> ─ </a:t>
            </a:r>
            <a:r>
              <a:rPr lang="en-US" sz="1867" dirty="0"/>
              <a:t>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11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733" dirty="0" err="1">
                <a:solidFill>
                  <a:srgbClr val="14110F"/>
                </a:solidFill>
                <a:latin typeface="Lato"/>
              </a:rPr>
              <a:t>классы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 </a:t>
            </a:r>
            <a:endParaRPr lang="en-US" sz="1733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49" name="TextBox 31"/>
          <p:cNvSpPr txBox="1"/>
          <p:nvPr/>
        </p:nvSpPr>
        <p:spPr>
          <a:xfrm>
            <a:off x="4740616" y="6161832"/>
            <a:ext cx="480281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spc="-32" dirty="0">
                <a:solidFill>
                  <a:srgbClr val="B8BBC4"/>
                </a:solidFill>
                <a:latin typeface="Lato"/>
              </a:rPr>
              <a:t>9</a:t>
            </a:r>
            <a:endParaRPr lang="en-US" sz="3200" spc="-32" dirty="0">
              <a:solidFill>
                <a:srgbClr val="B8BBC4"/>
              </a:solidFill>
              <a:latin typeface="Lato"/>
            </a:endParaRPr>
          </a:p>
        </p:txBody>
      </p:sp>
      <p:sp>
        <p:nvSpPr>
          <p:cNvPr id="50" name="TextBox 32"/>
          <p:cNvSpPr txBox="1"/>
          <p:nvPr/>
        </p:nvSpPr>
        <p:spPr>
          <a:xfrm>
            <a:off x="5346914" y="4851400"/>
            <a:ext cx="6209338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426"/>
              </a:lnSpc>
            </a:pPr>
            <a:r>
              <a:rPr lang="ru-RU" sz="1733" dirty="0" err="1">
                <a:solidFill>
                  <a:srgbClr val="14110F"/>
                </a:solidFill>
                <a:latin typeface="Lato"/>
              </a:rPr>
              <a:t>Аудиоучебники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.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Учебники в </a:t>
            </a:r>
            <a:r>
              <a:rPr lang="ru-RU" sz="1733" dirty="0" err="1">
                <a:solidFill>
                  <a:srgbClr val="14110F"/>
                </a:solidFill>
                <a:latin typeface="Lato"/>
              </a:rPr>
              <a:t>аудиоформате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,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5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867" spc="36" dirty="0">
                <a:solidFill>
                  <a:srgbClr val="14110F"/>
                </a:solidFill>
                <a:latin typeface="Lato"/>
              </a:rPr>
              <a:t> ─ </a:t>
            </a:r>
            <a:r>
              <a:rPr lang="en-US" sz="1867" dirty="0"/>
              <a:t> </a:t>
            </a:r>
            <a:r>
              <a:rPr lang="ru-RU" sz="1733" dirty="0">
                <a:solidFill>
                  <a:srgbClr val="14110F"/>
                </a:solidFill>
                <a:latin typeface="Lato"/>
              </a:rPr>
              <a:t>9 класс</a:t>
            </a:r>
            <a:r>
              <a:rPr lang="en-US" sz="1733" dirty="0">
                <a:solidFill>
                  <a:srgbClr val="14110F"/>
                </a:solidFill>
                <a:latin typeface="Lato"/>
              </a:rPr>
              <a:t>ы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6962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10"/>
          <p:cNvSpPr txBox="1"/>
          <p:nvPr/>
        </p:nvSpPr>
        <p:spPr>
          <a:xfrm>
            <a:off x="5435599" y="1976994"/>
            <a:ext cx="6168968" cy="4431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ко всем учебно-методическим материалам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формирование и хранение электронного портфолио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информация о ходе образовательного процесса, включая промежуточную аттестацию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проведение занятий и оценивание при применении электронного обучения и дистанционных технологий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взаимодействие между участниками образовательного процесса и с другими организациями через Интернет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мониторинг здоровья;</a:t>
            </a:r>
          </a:p>
          <a:p>
            <a:endParaRPr lang="ru-RU" sz="1600" dirty="0">
              <a:ea typeface="Yu Gothic UI Light" panose="020B0300000000000000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>
                <a:ea typeface="Yu Gothic UI Light" panose="020B0300000000000000" pitchFamily="34" charset="-128"/>
              </a:rPr>
              <a:t>информационное сопровождение проектирования обучающимися планов продолжения обучения и </a:t>
            </a:r>
            <a:r>
              <a:rPr lang="ru-RU" sz="1600" dirty="0" err="1">
                <a:ea typeface="Yu Gothic UI Light" panose="020B0300000000000000" pitchFamily="34" charset="-128"/>
              </a:rPr>
              <a:t>проф</a:t>
            </a:r>
            <a:r>
              <a:rPr lang="ru-RU" sz="1600" dirty="0">
                <a:ea typeface="Yu Gothic UI Light" panose="020B0300000000000000" pitchFamily="34" charset="-128"/>
              </a:rPr>
              <a:t> самоопределения (ООО).</a:t>
            </a:r>
            <a:br>
              <a:rPr lang="ru-RU" sz="1600" dirty="0">
                <a:ea typeface="Yu Gothic UI Light" panose="020B0300000000000000" pitchFamily="34" charset="-128"/>
              </a:rPr>
            </a:br>
            <a:endParaRPr lang="ru-RU" sz="1600" i="1" dirty="0">
              <a:ea typeface="Yu Gothic UI Light" panose="020B0300000000000000" pitchFamily="34" charset="-128"/>
            </a:endParaRPr>
          </a:p>
        </p:txBody>
      </p:sp>
      <p:sp>
        <p:nvSpPr>
          <p:cNvPr id="34" name="TextBox 10"/>
          <p:cNvSpPr txBox="1"/>
          <p:nvPr/>
        </p:nvSpPr>
        <p:spPr>
          <a:xfrm>
            <a:off x="367031" y="2794399"/>
            <a:ext cx="4267200" cy="492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28611" indent="-228611">
              <a:buFont typeface="Wingdings" panose="05000000000000000000" pitchFamily="2" charset="2"/>
              <a:buChar char="ü"/>
            </a:pPr>
            <a:r>
              <a:rPr lang="ru-RU" sz="1600" dirty="0">
                <a:ea typeface="Yu Gothic UI Light" panose="020B0300000000000000" pitchFamily="34" charset="-128"/>
              </a:rPr>
              <a:t>Условия функционирования ИОС могут быть обеспечены ресурсами иных организаций</a:t>
            </a:r>
          </a:p>
        </p:txBody>
      </p:sp>
      <p:pic>
        <p:nvPicPr>
          <p:cNvPr id="35" name="Picture 7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rcRect/>
          <a:stretch>
            <a:fillRect/>
          </a:stretch>
        </p:blipFill>
        <p:spPr>
          <a:xfrm>
            <a:off x="1189104" y="3783784"/>
            <a:ext cx="2722496" cy="2314121"/>
          </a:xfrm>
          <a:prstGeom prst="rect">
            <a:avLst/>
          </a:prstGeom>
        </p:spPr>
      </p:pic>
      <p:sp>
        <p:nvSpPr>
          <p:cNvPr id="17" name="Заголовок 2">
            <a:extLst>
              <a:ext uri="{FF2B5EF4-FFF2-40B4-BE49-F238E27FC236}">
                <a16:creationId xmlns:a16="http://schemas.microsoft.com/office/drawing/2014/main" id="{E2E4C2F6-AD10-4723-B370-D23F91FD8C1D}"/>
              </a:ext>
            </a:extLst>
          </p:cNvPr>
          <p:cNvSpPr txBox="1">
            <a:spLocks/>
          </p:cNvSpPr>
          <p:nvPr/>
        </p:nvSpPr>
        <p:spPr>
          <a:xfrm>
            <a:off x="1758927" y="194745"/>
            <a:ext cx="9553856" cy="6080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- </a:t>
            </a: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021: Безопасное использование цифровых технологий </a:t>
            </a:r>
          </a:p>
          <a:p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2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1873318" y="1163842"/>
            <a:ext cx="10007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учающимся и родителям должен быть обеспечен доступ к</a:t>
            </a:r>
          </a:p>
          <a:p>
            <a:pPr lvl="0">
              <a:defRPr/>
            </a:pP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информационно-образовательной среде Организации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: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042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-1786364" y="822392"/>
            <a:ext cx="7097590" cy="534980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0" y="1837119"/>
            <a:ext cx="5217169" cy="3990223"/>
            <a:chOff x="0" y="0"/>
            <a:chExt cx="10434337" cy="7980445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4"/>
            <a:srcRect l="6403" r="6403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p:blipFill>
        <p:spPr>
          <a:xfrm>
            <a:off x="5744733" y="2630072"/>
            <a:ext cx="387943" cy="453735"/>
          </a:xfrm>
          <a:prstGeom prst="rect">
            <a:avLst/>
          </a:prstGeom>
        </p:spPr>
      </p:pic>
      <p:sp>
        <p:nvSpPr>
          <p:cNvPr id="8" name="TextBox 8"/>
          <p:cNvSpPr txBox="1"/>
          <p:nvPr/>
        </p:nvSpPr>
        <p:spPr>
          <a:xfrm>
            <a:off x="5807745" y="768127"/>
            <a:ext cx="540702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3200" b="1" spc="-32" dirty="0" err="1">
                <a:solidFill>
                  <a:srgbClr val="243D6D"/>
                </a:solidFill>
                <a:latin typeface="Lato"/>
              </a:rPr>
              <a:t>ПРОвоспитание</a:t>
            </a:r>
            <a:endParaRPr lang="en-US" sz="3200" b="1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292744" y="2628967"/>
            <a:ext cx="5238856" cy="22570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обеспечи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ы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автоматическо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истемо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организаци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оспитательно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аботы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се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одуля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Примерной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программы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воспитания</a:t>
            </a: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 и направлениям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воспитательной работы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317040" y="5685313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воспитательная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работа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организована</a:t>
            </a:r>
            <a:endParaRPr lang="en-US" sz="1566" spc="31" dirty="0">
              <a:solidFill>
                <a:srgbClr val="14110F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в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соответствии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со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всеми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требованиями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стандартами</a:t>
            </a:r>
            <a:endParaRPr lang="en-US" sz="1566" spc="31" dirty="0">
              <a:solidFill>
                <a:srgbClr val="14110F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13" name="TextBox 7"/>
          <p:cNvSpPr txBox="1"/>
          <p:nvPr/>
        </p:nvSpPr>
        <p:spPr>
          <a:xfrm>
            <a:off x="5807745" y="1558566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ерви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ланирова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организаци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истемы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оспитательно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аботы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в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д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ключ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</a:p>
        </p:txBody>
      </p:sp>
      <p:sp>
        <p:nvSpPr>
          <p:cNvPr id="1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29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-1786364" y="822392"/>
            <a:ext cx="7097590" cy="534980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0" y="1837119"/>
            <a:ext cx="5217169" cy="3990223"/>
            <a:chOff x="0" y="0"/>
            <a:chExt cx="10434337" cy="7980445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4"/>
            <a:srcRect l="6417" r="6417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5807745" y="1655842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Обучающее сопровождение проектной деятельности школьников 5—11 классов. </a:t>
            </a:r>
            <a:r>
              <a:rPr lang="en-US" sz="1566" spc="31" dirty="0" smtClean="0">
                <a:solidFill>
                  <a:srgbClr val="14110F"/>
                </a:solidFill>
                <a:latin typeface="Lato"/>
              </a:rPr>
              <a:t>. 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7745" y="504602"/>
            <a:ext cx="540702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b="1" spc="-32" dirty="0">
                <a:solidFill>
                  <a:srgbClr val="243D6D"/>
                </a:solidFill>
                <a:latin typeface="Lato"/>
              </a:rPr>
              <a:t>Лаборатория проектов</a:t>
            </a:r>
            <a:endParaRPr lang="en-US" sz="3200" b="1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7040" y="1882070"/>
            <a:ext cx="5407027" cy="25391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ru-RU" sz="1566" spc="31" dirty="0" smtClean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Обучить школьников проектной деятельности и дать педагогам инструмент для ее организации</a:t>
            </a:r>
          </a:p>
          <a:p>
            <a:pPr>
              <a:lnSpc>
                <a:spcPts val="2193"/>
              </a:lnSpc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•	проверенный образовательный контент</a:t>
            </a:r>
          </a:p>
          <a:p>
            <a:pPr>
              <a:lnSpc>
                <a:spcPts val="2193"/>
              </a:lnSpc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•	дифференцированный подход в проектной деятельности </a:t>
            </a:r>
          </a:p>
          <a:p>
            <a:pPr>
              <a:lnSpc>
                <a:spcPts val="2193"/>
              </a:lnSpc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•	инструменты для проверки и коммуникации</a:t>
            </a:r>
          </a:p>
          <a:p>
            <a:pPr>
              <a:lnSpc>
                <a:spcPts val="2193"/>
              </a:lnSpc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•	механизм объективной </a:t>
            </a:r>
            <a:r>
              <a:rPr lang="ru-RU" sz="1566" spc="31" dirty="0" smtClean="0">
                <a:solidFill>
                  <a:srgbClr val="14110F"/>
                </a:solidFill>
                <a:latin typeface="Lato Bold"/>
              </a:rPr>
              <a:t>оценки</a:t>
            </a:r>
            <a:endParaRPr lang="ru-RU" sz="1566" spc="31" dirty="0">
              <a:solidFill>
                <a:srgbClr val="14110F"/>
              </a:solidFill>
              <a:latin typeface="Lato Bold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195688" y="5412263"/>
            <a:ext cx="5528379" cy="11285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 smtClean="0">
                <a:solidFill>
                  <a:srgbClr val="14110F"/>
                </a:solidFill>
                <a:latin typeface="Lato Bold"/>
              </a:rPr>
              <a:t>:</a:t>
            </a: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 достигнуты образовательные результаты, мотивированы учащиеся, организована система проектной работы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1448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-1786364" y="822392"/>
            <a:ext cx="7097590" cy="534980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0" y="1837119"/>
            <a:ext cx="5217169" cy="3990223"/>
            <a:chOff x="0" y="0"/>
            <a:chExt cx="10434337" cy="7980445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4"/>
            <a:srcRect l="6362" r="6362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5807745" y="1558566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Сервис для эффективного и самостоятельного освоения технологии заучива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тихотворений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7745" y="768127"/>
            <a:ext cx="540702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3200" b="1" spc="-32" dirty="0" err="1">
                <a:solidFill>
                  <a:srgbClr val="243D6D"/>
                </a:solidFill>
                <a:latin typeface="Lato"/>
              </a:rPr>
              <a:t>Учим</a:t>
            </a:r>
            <a:r>
              <a:rPr lang="en-US" sz="3200" b="1" spc="-32" dirty="0">
                <a:solidFill>
                  <a:srgbClr val="243D6D"/>
                </a:solidFill>
                <a:latin typeface="Lato"/>
              </a:rPr>
              <a:t> </a:t>
            </a:r>
            <a:r>
              <a:rPr lang="en-US" sz="3200" b="1" spc="-32" dirty="0" err="1">
                <a:solidFill>
                  <a:srgbClr val="243D6D"/>
                </a:solidFill>
                <a:latin typeface="Lato"/>
              </a:rPr>
              <a:t>стихи</a:t>
            </a:r>
            <a:endParaRPr lang="en-US" sz="3200" b="1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7040" y="2423377"/>
            <a:ext cx="5407027" cy="28212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моч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а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легко и успешно заучить стихотворение с опорой: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 опреде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эмоционального тона   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тихотворения</a:t>
            </a:r>
            <a:endParaRPr lang="ru-RU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 Bold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осмыс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содержания</a:t>
            </a: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 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восприятие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мысловых фрагментов 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317040" y="5412263"/>
            <a:ext cx="5407027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у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ов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озрастает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интере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к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чтению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тихов наизус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,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асширяетс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ловарны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па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развивается эстетический вкус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1206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597"/>
          <a:stretch/>
        </p:blipFill>
        <p:spPr>
          <a:xfrm>
            <a:off x="0" y="5842985"/>
            <a:ext cx="12188949" cy="759141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2147229" y="194381"/>
            <a:ext cx="969707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dirty="0" smtClean="0"/>
              <a:t>Реализация </a:t>
            </a:r>
            <a:r>
              <a:rPr lang="ru-RU" dirty="0" smtClean="0"/>
              <a:t>ФГОС </a:t>
            </a:r>
            <a:r>
              <a:rPr lang="ru-RU" dirty="0" smtClean="0"/>
              <a:t>в контексте целевых показателей НП </a:t>
            </a:r>
            <a:r>
              <a:rPr lang="ru-RU" dirty="0"/>
              <a:t>«Образование</a:t>
            </a:r>
            <a:r>
              <a:rPr lang="ru-RU" dirty="0" smtClean="0"/>
              <a:t>» на 2022 г.  </a:t>
            </a:r>
            <a:endParaRPr lang="ru-RU" dirty="0"/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0073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901009"/>
              </p:ext>
            </p:extLst>
          </p:nvPr>
        </p:nvGraphicFramePr>
        <p:xfrm>
          <a:off x="92960" y="932726"/>
          <a:ext cx="11859690" cy="42249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7061">
                  <a:extLst>
                    <a:ext uri="{9D8B030D-6E8A-4147-A177-3AD203B41FA5}">
                      <a16:colId xmlns:a16="http://schemas.microsoft.com/office/drawing/2014/main" val="481023120"/>
                    </a:ext>
                  </a:extLst>
                </a:gridCol>
                <a:gridCol w="9662629">
                  <a:extLst>
                    <a:ext uri="{9D8B030D-6E8A-4147-A177-3AD203B41FA5}">
                      <a16:colId xmlns:a16="http://schemas.microsoft.com/office/drawing/2014/main" val="3238370464"/>
                    </a:ext>
                  </a:extLst>
                </a:gridCol>
              </a:tblGrid>
              <a:tr h="784993">
                <a:tc>
                  <a:txBody>
                    <a:bodyPr/>
                    <a:lstStyle/>
                    <a:p>
                      <a:pPr algn="r"/>
                      <a:endParaRPr lang="ru-RU" sz="1300" b="1" dirty="0">
                        <a:solidFill>
                          <a:srgbClr val="0073B8"/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Обеспечено внедрение обновленных примерных основных общеобразовательных программ, разработанных в рамках федерального проекта, в общеобразовательные организации всех субъектов Российской Федерации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146219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50%</a:t>
                      </a:r>
                      <a:r>
                        <a:rPr lang="ru-RU" sz="1300" b="1" kern="1200" baseline="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школ</a:t>
                      </a:r>
                      <a:r>
                        <a:rPr lang="ru-RU" sz="1300" b="0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РФ</a:t>
                      </a: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проведут оценку качества общего образования на основе  практики международных исследований качества подготовки  обучающихся в общеобразовательных организациях РФ (PISA)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4243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77</a:t>
                      </a:r>
                      <a:r>
                        <a:rPr lang="ru-RU" sz="1300" b="1" kern="1200" baseline="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%</a:t>
                      </a:r>
                      <a:r>
                        <a:rPr lang="ru-RU" sz="1300" b="1" kern="1200" baseline="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детей</a:t>
                      </a:r>
                      <a:endParaRPr lang="ru-RU" sz="1300" b="0" kern="1200" dirty="0" smtClean="0">
                        <a:solidFill>
                          <a:srgbClr val="0073B8"/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будет охвачено дополнительным образованием в целях воспитания гармонично развитой и социально ответственной личности на основе духовно-нравственных ценностей народов Российской Федерации, исторических и </a:t>
                      </a: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национально-культурных </a:t>
                      </a: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традиций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395698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6,4 млн учащихся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0" kern="1200" dirty="0" smtClean="0">
                        <a:solidFill>
                          <a:srgbClr val="0073B8"/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будут вовлечены в деятельность общественных объединений, в </a:t>
                      </a:r>
                      <a:r>
                        <a:rPr lang="ru-RU" sz="13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т.ч</a:t>
                      </a: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. волонтерских и добровольческих 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975620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в</a:t>
                      </a:r>
                      <a:r>
                        <a:rPr lang="ru-RU" sz="1300" b="1" kern="1200" baseline="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11 тыс. </a:t>
                      </a:r>
                      <a:r>
                        <a:rPr lang="ru-RU" sz="1300" b="0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школах</a:t>
                      </a: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в</a:t>
                      </a: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55 </a:t>
                      </a:r>
                      <a:r>
                        <a:rPr lang="ru-RU" sz="1300" b="0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субъектах РФ</a:t>
                      </a: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будет создана материально-техническая база для реализации основных и дополнительных общеобразовательных программ цифрового и гуманитарного профилей в сельской местности и малых городах («Точки роста»)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6913215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в 530 </a:t>
                      </a:r>
                      <a:r>
                        <a:rPr lang="ru-RU" sz="1300" b="0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школах</a:t>
                      </a: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о</a:t>
                      </a: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существляющих образовательную деятельность исключительно по адаптированным общеобразовательным программа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будет обновлена материально-техническая база</a:t>
                      </a:r>
                      <a:r>
                        <a:rPr lang="ru-RU" sz="13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3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Open Sans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572180"/>
                  </a:ext>
                </a:extLst>
              </a:tr>
              <a:tr h="573328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73B8"/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550 тыс. </a:t>
                      </a:r>
                    </a:p>
                  </a:txBody>
                  <a:tcPr marR="288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en Sans" pitchFamily="34" charset="0"/>
                          <a:ea typeface="Open Sans" pitchFamily="34" charset="0"/>
                          <a:cs typeface="Open Sans" pitchFamily="34" charset="0"/>
                        </a:rPr>
                        <a:t>детей получат рекомендации по построению индивидуального учебного плана в соответствии с выбранными профессиональными компетенциями (профессиональными областями деятельности) </a:t>
                      </a:r>
                    </a:p>
                  </a:txBody>
                  <a:tcPr marL="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73B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059944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754" y="1008669"/>
            <a:ext cx="554281" cy="634159"/>
          </a:xfrm>
          <a:prstGeom prst="rect">
            <a:avLst/>
          </a:prstGeom>
        </p:spPr>
      </p:pic>
      <p:sp>
        <p:nvSpPr>
          <p:cNvPr id="25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126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1786364" y="822392"/>
            <a:ext cx="7097590" cy="534980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0" y="1837119"/>
            <a:ext cx="5217169" cy="3990223"/>
            <a:chOff x="0" y="0"/>
            <a:chExt cx="10434337" cy="7980445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4"/>
            <a:srcRect t="7333" r="21317" b="2428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5807745" y="1558566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Сервис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для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 Bold"/>
              </a:rPr>
              <a:t>всестороннего</a:t>
            </a:r>
            <a:r>
              <a:rPr lang="en-US" sz="1567" spc="31" dirty="0">
                <a:solidFill>
                  <a:srgbClr val="14110F"/>
                </a:solidFill>
                <a:latin typeface="Lato Bold"/>
              </a:rPr>
              <a:t> развития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ребенка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7" spc="31" dirty="0">
                <a:solidFill>
                  <a:srgbClr val="14110F"/>
                </a:solidFill>
                <a:latin typeface="Lato"/>
              </a:rPr>
              <a:t>6</a:t>
            </a:r>
            <a:r>
              <a:rPr lang="en-US" sz="1600" dirty="0"/>
              <a:t> </a:t>
            </a:r>
            <a:r>
              <a:rPr lang="en-US" sz="1600" spc="36" dirty="0">
                <a:solidFill>
                  <a:srgbClr val="14110F"/>
                </a:solidFill>
                <a:latin typeface="Lato"/>
              </a:rPr>
              <a:t>─</a:t>
            </a:r>
            <a:r>
              <a:rPr lang="en-US" sz="1600" dirty="0"/>
              <a:t> 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7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лет</a:t>
            </a:r>
            <a:endParaRPr lang="en-US" sz="1567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от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специалистов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по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дошкольному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образованию</a:t>
            </a:r>
            <a:endParaRPr lang="en-US" sz="1567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553084" y="142847"/>
            <a:ext cx="540702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b="1" spc="-32" dirty="0">
                <a:solidFill>
                  <a:srgbClr val="243D6D"/>
                </a:solidFill>
                <a:latin typeface="Lato"/>
              </a:rPr>
              <a:t>К школе готов</a:t>
            </a:r>
            <a:endParaRPr lang="en-US" sz="3200" b="1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7040" y="2406197"/>
            <a:ext cx="5407027" cy="36676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моч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одителя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,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едагога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оспитателя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в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дготовк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ебенк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к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чет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развития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комплекс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навыков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умений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атематическа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готовность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ечева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готовность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>
                <a:solidFill>
                  <a:srgbClr val="14110F"/>
                </a:solidFill>
                <a:latin typeface="Lato"/>
              </a:rPr>
              <a:t>п</a:t>
            </a:r>
            <a:r>
              <a:rPr lang="ru-RU" sz="1566" spc="31" dirty="0" err="1">
                <a:solidFill>
                  <a:srgbClr val="14110F"/>
                </a:solidFill>
                <a:latin typeface="Lato"/>
              </a:rPr>
              <a:t>одготовка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к ч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тени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ю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>
                <a:solidFill>
                  <a:srgbClr val="14110F"/>
                </a:solidFill>
                <a:latin typeface="Lato"/>
              </a:rPr>
              <a:t>п</a:t>
            </a:r>
            <a:r>
              <a:rPr lang="ru-RU" sz="1566" spc="31" dirty="0" err="1">
                <a:solidFill>
                  <a:srgbClr val="14110F"/>
                </a:solidFill>
                <a:latin typeface="Lato"/>
              </a:rPr>
              <a:t>одготовка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к п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исьм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у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творчество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ышлени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амя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317040" y="5854042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качественная подготовка к школе для успешного обучения в 1 классе</a:t>
            </a:r>
            <a:r>
              <a:rPr lang="en-US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45335" y="728346"/>
            <a:ext cx="5588000" cy="57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Данный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сервис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подойдет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родителям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будущих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первоклассников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,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педагогам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7" spc="31" dirty="0" err="1">
                <a:solidFill>
                  <a:srgbClr val="14110F"/>
                </a:solidFill>
                <a:latin typeface="Lato"/>
              </a:rPr>
              <a:t>воспитателям</a:t>
            </a:r>
            <a:r>
              <a:rPr lang="en-US" sz="1567" spc="31" dirty="0">
                <a:solidFill>
                  <a:srgbClr val="14110F"/>
                </a:solidFill>
                <a:latin typeface="Lato"/>
              </a:rPr>
              <a:t> </a:t>
            </a:r>
            <a:endParaRPr lang="ru-RU" sz="1567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184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AutoShape 2"/>
          <p:cNvSpPr>
            <a:spLocks noChangeArrowheads="1"/>
          </p:cNvSpPr>
          <p:nvPr/>
        </p:nvSpPr>
        <p:spPr bwMode="auto">
          <a:xfrm>
            <a:off x="0" y="0"/>
            <a:ext cx="4220633" cy="6858000"/>
          </a:xfrm>
          <a:prstGeom prst="rect">
            <a:avLst/>
          </a:prstGeom>
          <a:solidFill>
            <a:srgbClr val="3A60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200"/>
          </a:p>
        </p:txBody>
      </p:sp>
      <p:pic>
        <p:nvPicPr>
          <p:cNvPr id="24579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86466" y="822325"/>
            <a:ext cx="7097183" cy="534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580" name="Group 4"/>
          <p:cNvGrpSpPr>
            <a:grpSpLocks/>
          </p:cNvGrpSpPr>
          <p:nvPr/>
        </p:nvGrpSpPr>
        <p:grpSpPr bwMode="auto">
          <a:xfrm>
            <a:off x="1" y="1837267"/>
            <a:ext cx="5217583" cy="3989917"/>
            <a:chOff x="0" y="0"/>
            <a:chExt cx="10434337" cy="7980445"/>
          </a:xfrm>
        </p:grpSpPr>
        <p:pic>
          <p:nvPicPr>
            <p:cNvPr id="24587" name="Picture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65" r="7240"/>
            <a:stretch>
              <a:fillRect/>
            </a:stretch>
          </p:blipFill>
          <p:spPr bwMode="auto">
            <a:xfrm>
              <a:off x="0" y="0"/>
              <a:ext cx="10434337" cy="7980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581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134" y="2332567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7"/>
          <p:cNvSpPr txBox="1"/>
          <p:nvPr/>
        </p:nvSpPr>
        <p:spPr>
          <a:xfrm>
            <a:off x="5808134" y="1558926"/>
            <a:ext cx="5407025" cy="56425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ерви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latin typeface="Lato"/>
              </a:rPr>
              <a:t>методической</a:t>
            </a:r>
            <a:r>
              <a:rPr lang="en-US" sz="1566" spc="31" dirty="0">
                <a:latin typeface="Lato"/>
              </a:rPr>
              <a:t> </a:t>
            </a:r>
            <a:r>
              <a:rPr lang="en-US" sz="1566" spc="31" dirty="0" err="1">
                <a:latin typeface="Lato"/>
              </a:rPr>
              <a:t>поддержки</a:t>
            </a:r>
            <a:r>
              <a:rPr lang="en-US" sz="1566" spc="31" dirty="0">
                <a:latin typeface="Lato"/>
              </a:rPr>
              <a:t> </a:t>
            </a:r>
            <a:r>
              <a:rPr lang="ru-RU" sz="1566" spc="31" dirty="0">
                <a:latin typeface="Lato"/>
              </a:rPr>
              <a:t>для </a:t>
            </a:r>
            <a:r>
              <a:rPr lang="en-US" sz="1566" spc="31" dirty="0" err="1">
                <a:latin typeface="Lato"/>
              </a:rPr>
              <a:t>родителей</a:t>
            </a:r>
            <a:r>
              <a:rPr lang="ru-RU" sz="1566" spc="31" dirty="0">
                <a:latin typeface="Lato"/>
              </a:rPr>
              <a:t> и </a:t>
            </a:r>
            <a:r>
              <a:rPr lang="en-US" sz="1566" spc="31" dirty="0">
                <a:latin typeface="Lato"/>
              </a:rPr>
              <a:t> </a:t>
            </a:r>
            <a:r>
              <a:rPr lang="ru-RU" sz="1566" spc="31" dirty="0">
                <a:latin typeface="Lato"/>
              </a:rPr>
              <a:t>учеников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с 1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4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клас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endParaRPr lang="en-US" sz="1566" spc="31" dirty="0"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8134" y="768350"/>
            <a:ext cx="5407025" cy="53860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4160"/>
              </a:lnSpc>
              <a:defRPr/>
            </a:pPr>
            <a:r>
              <a:rPr lang="ru-RU" sz="3200" spc="-32" dirty="0">
                <a:solidFill>
                  <a:srgbClr val="243D6D"/>
                </a:solidFill>
                <a:latin typeface="Lato"/>
              </a:rPr>
              <a:t>Начина</a:t>
            </a:r>
            <a:r>
              <a:rPr lang="en-US" sz="3200" spc="-32" dirty="0">
                <a:solidFill>
                  <a:srgbClr val="243D6D"/>
                </a:solidFill>
                <a:latin typeface="Lato"/>
              </a:rPr>
              <a:t>й</a:t>
            </a:r>
            <a:r>
              <a:rPr lang="ru-RU" sz="3200" spc="-32" dirty="0" err="1">
                <a:solidFill>
                  <a:srgbClr val="243D6D"/>
                </a:solidFill>
                <a:latin typeface="Lato"/>
              </a:rPr>
              <a:t>зер</a:t>
            </a:r>
            <a:endParaRPr lang="en-US" sz="3200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7192" y="2461684"/>
            <a:ext cx="5407025" cy="310341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  <a:defRPr/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моч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одителя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доступн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объясни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ебенку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домашне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дани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ил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тему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усскому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языку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атематик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(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систем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«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осси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»)</a:t>
            </a:r>
          </a:p>
          <a:p>
            <a:pPr>
              <a:lnSpc>
                <a:spcPts val="2193"/>
              </a:lnSpc>
              <a:defRPr/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  <a:defRPr/>
            </a:pPr>
            <a:r>
              <a:rPr lang="en-US" sz="1566" spc="31" dirty="0" err="1">
                <a:latin typeface="Lato"/>
              </a:rPr>
              <a:t>объяснить</a:t>
            </a:r>
            <a:r>
              <a:rPr lang="en-US" sz="1566" spc="31" dirty="0">
                <a:latin typeface="Lato"/>
              </a:rPr>
              <a:t> и </a:t>
            </a:r>
            <a:r>
              <a:rPr lang="ru-RU" sz="1566" spc="31" dirty="0">
                <a:latin typeface="Lato"/>
              </a:rPr>
              <a:t>проверить</a:t>
            </a:r>
            <a:endParaRPr lang="en-US" sz="1566" spc="31" dirty="0"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отивирова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качественно выполнить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домашне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дани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</a:p>
          <a:p>
            <a:pPr marL="338260" lvl="1" indent="-169130">
              <a:lnSpc>
                <a:spcPts val="2193"/>
              </a:lnSpc>
              <a:buFont typeface="Arial"/>
              <a:buChar char="•"/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дготови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к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ВПР</a:t>
            </a:r>
          </a:p>
          <a:p>
            <a:pPr>
              <a:lnSpc>
                <a:spcPts val="2193"/>
              </a:lnSpc>
              <a:defRPr/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317192" y="5528734"/>
            <a:ext cx="5407025" cy="84638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повышение мотивации и образовательных результатов </a:t>
            </a:r>
            <a:r>
              <a:rPr lang="ru-RU" sz="1566" spc="31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детей б</a:t>
            </a:r>
            <a:r>
              <a:rPr lang="en-US" sz="1566" spc="31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лагодаря</a:t>
            </a:r>
            <a:r>
              <a:rPr lang="en-US" sz="1566" spc="31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грамотной</a:t>
            </a:r>
            <a:r>
              <a:rPr lang="en-US" sz="1566" spc="31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поддержке</a:t>
            </a:r>
            <a:r>
              <a:rPr lang="en-US" sz="1566" spc="31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66" spc="31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родителей</a:t>
            </a:r>
            <a:endParaRPr lang="en-US" sz="1566" spc="31" dirty="0">
              <a:solidFill>
                <a:srgbClr val="00B050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898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1786364" y="822392"/>
            <a:ext cx="7097590" cy="534980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0" y="1837119"/>
            <a:ext cx="5217169" cy="3990223"/>
            <a:chOff x="0" y="0"/>
            <a:chExt cx="10434337" cy="7980445"/>
          </a:xfrm>
        </p:grpSpPr>
        <p:pic>
          <p:nvPicPr>
            <p:cNvPr id="5" name="Picture 5"/>
            <p:cNvPicPr>
              <a:picLocks noChangeAspect="1"/>
            </p:cNvPicPr>
            <p:nvPr/>
          </p:nvPicPr>
          <p:blipFill>
            <a:blip r:embed="rId4"/>
            <a:srcRect l="6498" r="6498"/>
            <a:stretch>
              <a:fillRect/>
            </a:stretch>
          </p:blipFill>
          <p:spPr>
            <a:xfrm>
              <a:off x="0" y="0"/>
              <a:ext cx="10434337" cy="7980445"/>
            </a:xfrm>
            <a:prstGeom prst="rect">
              <a:avLst/>
            </a:prstGeom>
          </p:spPr>
        </p:pic>
      </p:grpSp>
      <p:pic>
        <p:nvPicPr>
          <p:cNvPr id="7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8" name="TextBox 8"/>
          <p:cNvSpPr txBox="1"/>
          <p:nvPr/>
        </p:nvSpPr>
        <p:spPr>
          <a:xfrm>
            <a:off x="5807745" y="1558566"/>
            <a:ext cx="540702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>
                <a:solidFill>
                  <a:srgbClr val="14110F"/>
                </a:solidFill>
                <a:latin typeface="Lato"/>
              </a:rPr>
              <a:t>Сервис для подготовки к экзаменам, который помогает разобраться даже с самыми сложными заданиями.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5807745" y="768127"/>
            <a:ext cx="5407027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3200" b="1" spc="-32" dirty="0">
                <a:solidFill>
                  <a:srgbClr val="243D6D"/>
                </a:solidFill>
                <a:latin typeface="Lato"/>
              </a:rPr>
              <a:t>Я </a:t>
            </a:r>
            <a:r>
              <a:rPr lang="en-US" sz="3200" b="1" spc="-32" dirty="0" err="1">
                <a:solidFill>
                  <a:srgbClr val="243D6D"/>
                </a:solidFill>
                <a:latin typeface="Lato"/>
              </a:rPr>
              <a:t>сдам</a:t>
            </a:r>
            <a:r>
              <a:rPr lang="en-US" sz="3200" b="1" spc="-32" dirty="0">
                <a:solidFill>
                  <a:srgbClr val="243D6D"/>
                </a:solidFill>
                <a:latin typeface="Lato"/>
              </a:rPr>
              <a:t> ЕГЭ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7040" y="2419462"/>
            <a:ext cx="5407027" cy="25391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научи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ов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еша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трудны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да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ЕГЭ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дл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луче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ысоког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балл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н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экзамене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углубленна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дготовка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грамотно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ланировани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ремени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38260" lvl="1" indent="-169130">
              <a:lnSpc>
                <a:spcPts val="2193"/>
              </a:lnSpc>
              <a:buFont typeface="Arial"/>
              <a:buChar char="•"/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асширенны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материал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2" name="TextBox 12"/>
          <p:cNvSpPr txBox="1"/>
          <p:nvPr/>
        </p:nvSpPr>
        <p:spPr>
          <a:xfrm>
            <a:off x="6317040" y="5250136"/>
            <a:ext cx="5407027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амостоятельно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готовятс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к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экзамена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лучают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более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ысоки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бал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л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чет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углубленно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дготовк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к трудным заданиям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864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" y="0"/>
            <a:ext cx="4220623" cy="6858000"/>
          </a:xfrm>
          <a:prstGeom prst="rect">
            <a:avLst/>
          </a:prstGeom>
          <a:solidFill>
            <a:srgbClr val="3A60A7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-1786365" y="822392"/>
            <a:ext cx="7097591" cy="5349808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5807744" y="2332971"/>
            <a:ext cx="387944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5807745" y="1655843"/>
            <a:ext cx="5814780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600" b="1" spc="31" dirty="0">
                <a:solidFill>
                  <a:srgbClr val="14110F"/>
                </a:solidFill>
                <a:latin typeface="Lato"/>
              </a:rPr>
              <a:t>Популярные учебники с 5 по 9 класс в </a:t>
            </a:r>
            <a:r>
              <a:rPr lang="ru-RU" sz="1600" b="1" spc="31" dirty="0" err="1">
                <a:solidFill>
                  <a:srgbClr val="14110F"/>
                </a:solidFill>
                <a:latin typeface="Lato"/>
              </a:rPr>
              <a:t>аудиоформате</a:t>
            </a:r>
            <a:endParaRPr lang="en-US" sz="1600" b="1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7745" y="577493"/>
            <a:ext cx="5407028" cy="5386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ru-RU" sz="3200" b="1" spc="-32" dirty="0">
                <a:solidFill>
                  <a:srgbClr val="243D6D"/>
                </a:solidFill>
                <a:latin typeface="Lato"/>
              </a:rPr>
              <a:t>Учебник в наушниках</a:t>
            </a:r>
            <a:endParaRPr lang="en-US" sz="3200" b="1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7041" y="2401153"/>
            <a:ext cx="5407028" cy="14106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ru-RU" sz="1533" spc="31" dirty="0">
                <a:solidFill>
                  <a:srgbClr val="14110F"/>
                </a:solidFill>
                <a:latin typeface="Lato Bold"/>
              </a:rPr>
              <a:t>Задачи</a:t>
            </a:r>
            <a:r>
              <a:rPr lang="en-US" sz="1533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ru-RU" sz="1533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ru-RU" sz="1533" spc="31" dirty="0">
                <a:solidFill>
                  <a:srgbClr val="14110F"/>
                </a:solidFill>
                <a:latin typeface="Lato"/>
              </a:rPr>
              <a:t>Снизить нагрузку на </a:t>
            </a:r>
            <a:r>
              <a:rPr lang="ru-RU" sz="1533" spc="31" dirty="0" smtClean="0">
                <a:solidFill>
                  <a:srgbClr val="14110F"/>
                </a:solidFill>
                <a:latin typeface="Lato"/>
              </a:rPr>
              <a:t>зрение</a:t>
            </a:r>
            <a:endParaRPr lang="en-US" sz="1533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r>
              <a:rPr lang="en-US" sz="1533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33" spc="31" dirty="0">
                <a:solidFill>
                  <a:srgbClr val="14110F"/>
                </a:solidFill>
                <a:latin typeface="Lato"/>
              </a:rPr>
              <a:t>*По данным Росстата</a:t>
            </a:r>
            <a:r>
              <a:rPr lang="en-US" sz="1533" spc="31" dirty="0">
                <a:solidFill>
                  <a:srgbClr val="14110F"/>
                </a:solidFill>
                <a:latin typeface="Lato"/>
              </a:rPr>
              <a:t>,</a:t>
            </a:r>
            <a:r>
              <a:rPr lang="ru-RU" sz="1533" spc="31" dirty="0">
                <a:solidFill>
                  <a:srgbClr val="14110F"/>
                </a:solidFill>
                <a:latin typeface="Lato"/>
              </a:rPr>
              <a:t> 70% школьников имеют различные нарушения </a:t>
            </a:r>
            <a:r>
              <a:rPr lang="ru-RU" sz="1533" spc="31" dirty="0" smtClean="0">
                <a:solidFill>
                  <a:srgbClr val="14110F"/>
                </a:solidFill>
                <a:latin typeface="Lato"/>
              </a:rPr>
              <a:t>зрения</a:t>
            </a:r>
            <a:endParaRPr lang="en-US" sz="1533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317041" y="5412264"/>
            <a:ext cx="5407028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33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33" spc="31" dirty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33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улучшены</a:t>
            </a:r>
            <a:r>
              <a:rPr lang="en-US" sz="1533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33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образовательные</a:t>
            </a:r>
            <a:r>
              <a:rPr lang="en-US" sz="1533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en-US" sz="1533" spc="31" dirty="0" err="1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результаты</a:t>
            </a:r>
            <a:endParaRPr lang="en-US" sz="1533" spc="31" dirty="0">
              <a:solidFill>
                <a:srgbClr val="14110F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533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детей с нарушениями зрения и речи</a:t>
            </a:r>
            <a:endParaRPr lang="en-US" sz="1533" spc="31" dirty="0">
              <a:solidFill>
                <a:srgbClr val="14110F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35714"/>
            <a:ext cx="51054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241536" y="4057742"/>
            <a:ext cx="5308387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193"/>
              </a:lnSpc>
            </a:pPr>
            <a:r>
              <a:rPr lang="ru-RU" sz="1533" spc="31" dirty="0">
                <a:solidFill>
                  <a:srgbClr val="14110F"/>
                </a:solidFill>
                <a:latin typeface="Lato"/>
              </a:rPr>
              <a:t>Обеспечить учащимся доступ к  различным видам получения информации</a:t>
            </a:r>
            <a:endParaRPr lang="en-US" sz="1533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043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AutoShape 2"/>
          <p:cNvSpPr>
            <a:spLocks noChangeArrowheads="1"/>
          </p:cNvSpPr>
          <p:nvPr/>
        </p:nvSpPr>
        <p:spPr bwMode="auto">
          <a:xfrm>
            <a:off x="0" y="0"/>
            <a:ext cx="4220633" cy="6858000"/>
          </a:xfrm>
          <a:prstGeom prst="rect">
            <a:avLst/>
          </a:prstGeom>
          <a:solidFill>
            <a:srgbClr val="3A60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200"/>
          </a:p>
        </p:txBody>
      </p:sp>
      <p:pic>
        <p:nvPicPr>
          <p:cNvPr id="24579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86466" y="822325"/>
            <a:ext cx="7097183" cy="534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1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133" y="2805698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7"/>
          <p:cNvSpPr txBox="1"/>
          <p:nvPr/>
        </p:nvSpPr>
        <p:spPr>
          <a:xfrm>
            <a:off x="5808134" y="1558926"/>
            <a:ext cx="5913664" cy="8463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Сервис с заданиями на формирование функциональной грамотности для учеников 1</a:t>
            </a:r>
            <a:r>
              <a:rPr lang="en-US" sz="1600" spc="36" dirty="0">
                <a:solidFill>
                  <a:srgbClr val="14110F"/>
                </a:solidFill>
                <a:latin typeface="Lato"/>
              </a:rPr>
              <a:t> ─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9 классов от авторов, занимающихся программой оценки PISA</a:t>
            </a:r>
            <a:endParaRPr lang="ru-RU" sz="1566" spc="31" dirty="0"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8133" y="329756"/>
            <a:ext cx="5723467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4160"/>
              </a:lnSpc>
              <a:defRPr/>
            </a:pPr>
            <a:r>
              <a:rPr lang="ru-RU" sz="3200" spc="-32" dirty="0">
                <a:solidFill>
                  <a:srgbClr val="243D6D"/>
                </a:solidFill>
                <a:latin typeface="Lato"/>
              </a:rPr>
              <a:t>Банк заданий по функциональной грамотности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6314773" y="2687440"/>
            <a:ext cx="5407025" cy="282128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Задача:</a:t>
            </a:r>
          </a:p>
          <a:p>
            <a:pPr>
              <a:lnSpc>
                <a:spcPts val="2193"/>
              </a:lnSpc>
              <a:defRPr/>
            </a:pPr>
            <a:endParaRPr lang="ru-RU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помочь учителям и учащимся при формировании и оценке </a:t>
            </a:r>
            <a:r>
              <a:rPr lang="ru-RU" sz="1566" spc="31" dirty="0" err="1">
                <a:solidFill>
                  <a:srgbClr val="14110F"/>
                </a:solidFill>
                <a:latin typeface="Lato"/>
              </a:rPr>
              <a:t>метапредметных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компетенций и отдельных видов функциональной грамотности: </a:t>
            </a:r>
          </a:p>
          <a:p>
            <a:pPr marL="228611" indent="-228611">
              <a:lnSpc>
                <a:spcPts val="2193"/>
              </a:lnSpc>
              <a:buFont typeface="Arial" panose="020B0604020202020204" pitchFamily="34" charset="0"/>
              <a:buChar char="•"/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читательская </a:t>
            </a:r>
          </a:p>
          <a:p>
            <a:pPr marL="228611" indent="-228611">
              <a:lnSpc>
                <a:spcPts val="2193"/>
              </a:lnSpc>
              <a:buFont typeface="Arial" panose="020B0604020202020204" pitchFamily="34" charset="0"/>
              <a:buChar char="•"/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математическая </a:t>
            </a:r>
          </a:p>
          <a:p>
            <a:pPr marL="228611" indent="-228611">
              <a:lnSpc>
                <a:spcPts val="2193"/>
              </a:lnSpc>
              <a:buFont typeface="Arial" panose="020B0604020202020204" pitchFamily="34" charset="0"/>
              <a:buChar char="•"/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естественно-научная </a:t>
            </a:r>
          </a:p>
          <a:p>
            <a:pPr marL="228611" indent="-228611">
              <a:lnSpc>
                <a:spcPts val="2193"/>
              </a:lnSpc>
              <a:buFont typeface="Arial" panose="020B0604020202020204" pitchFamily="34" charset="0"/>
              <a:buChar char="•"/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финансовая</a:t>
            </a:r>
          </a:p>
          <a:p>
            <a:pPr marL="228611" indent="-228611">
              <a:lnSpc>
                <a:spcPts val="2193"/>
              </a:lnSpc>
              <a:buFont typeface="Arial" panose="020B0604020202020204" pitchFamily="34" charset="0"/>
              <a:buChar char="•"/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креативное мышление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4773" y="5588819"/>
            <a:ext cx="5407025" cy="84638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Результат: </a:t>
            </a: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учащийся полностью осваивает навык и закрепляет его с помощью полнофункционального тренажера заданий в формате PISA.</a:t>
            </a:r>
            <a:endParaRPr lang="ru-RU" sz="1566" spc="31" dirty="0">
              <a:solidFill>
                <a:srgbClr val="00B050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17" name="TextBox 33"/>
          <p:cNvSpPr txBox="1"/>
          <p:nvPr/>
        </p:nvSpPr>
        <p:spPr>
          <a:xfrm>
            <a:off x="219484" y="6321429"/>
            <a:ext cx="3031716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>
              <a:solidFill>
                <a:schemeClr val="bg1"/>
              </a:solidFill>
            </a:endParaRPr>
          </a:p>
          <a:p>
            <a:pPr algn="ctr">
              <a:lnSpc>
                <a:spcPts val="1493"/>
              </a:lnSpc>
              <a:spcBef>
                <a:spcPct val="0"/>
              </a:spcBef>
            </a:pPr>
            <a:r>
              <a:rPr lang="en-US" sz="1067" dirty="0">
                <a:solidFill>
                  <a:schemeClr val="bg1"/>
                </a:solidFill>
                <a:latin typeface="Lato"/>
              </a:rPr>
              <a:t>© АО «</a:t>
            </a:r>
            <a:r>
              <a:rPr lang="en-US" sz="1067" dirty="0" err="1">
                <a:solidFill>
                  <a:schemeClr val="bg1"/>
                </a:solidFill>
                <a:latin typeface="Lato"/>
              </a:rPr>
              <a:t>Издательство</a:t>
            </a:r>
            <a:r>
              <a:rPr lang="en-US" sz="1067" dirty="0">
                <a:solidFill>
                  <a:schemeClr val="bg1"/>
                </a:solidFill>
                <a:latin typeface="Lato"/>
              </a:rPr>
              <a:t> «</a:t>
            </a:r>
            <a:r>
              <a:rPr lang="en-US" sz="1067" dirty="0" err="1">
                <a:solidFill>
                  <a:schemeClr val="bg1"/>
                </a:solidFill>
                <a:latin typeface="Lato"/>
              </a:rPr>
              <a:t>Просвещение</a:t>
            </a:r>
            <a:r>
              <a:rPr lang="en-US" sz="1067" dirty="0">
                <a:solidFill>
                  <a:schemeClr val="bg1"/>
                </a:solidFill>
                <a:latin typeface="Lato"/>
              </a:rPr>
              <a:t>», 2021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48000" y="3121224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sz="1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457" y="1701800"/>
            <a:ext cx="4892837" cy="4077364"/>
          </a:xfrm>
          <a:prstGeom prst="rect">
            <a:avLst/>
          </a:prstGeom>
        </p:spPr>
      </p:pic>
      <p:sp>
        <p:nvSpPr>
          <p:cNvPr id="1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413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AutoShape 2"/>
          <p:cNvSpPr>
            <a:spLocks noChangeArrowheads="1"/>
          </p:cNvSpPr>
          <p:nvPr/>
        </p:nvSpPr>
        <p:spPr bwMode="auto">
          <a:xfrm>
            <a:off x="0" y="0"/>
            <a:ext cx="4220633" cy="6858000"/>
          </a:xfrm>
          <a:prstGeom prst="rect">
            <a:avLst/>
          </a:prstGeom>
          <a:solidFill>
            <a:srgbClr val="3A60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200"/>
          </a:p>
        </p:txBody>
      </p:sp>
      <p:pic>
        <p:nvPicPr>
          <p:cNvPr id="24581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714" y="2496881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7"/>
          <p:cNvSpPr txBox="1"/>
          <p:nvPr/>
        </p:nvSpPr>
        <p:spPr>
          <a:xfrm>
            <a:off x="5808133" y="1558926"/>
            <a:ext cx="5913664" cy="5642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Сервис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выдач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и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домашних заданий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дл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 err="1">
                <a:solidFill>
                  <a:srgbClr val="14110F"/>
                </a:solidFill>
                <a:latin typeface="Lato"/>
              </a:rPr>
              <a:t>учащи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х</a:t>
            </a:r>
            <a:r>
              <a:rPr lang="ru-RU" sz="1566" spc="31" dirty="0" err="1">
                <a:solidFill>
                  <a:srgbClr val="14110F"/>
                </a:solidFill>
                <a:latin typeface="Lato"/>
              </a:rPr>
              <a:t>ся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1</a:t>
            </a:r>
            <a:r>
              <a:rPr lang="en-US" sz="1333" spc="36" dirty="0">
                <a:solidFill>
                  <a:srgbClr val="14110F"/>
                </a:solidFill>
                <a:latin typeface="Lato"/>
              </a:rPr>
              <a:t> ─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11 классов по всем основным предметам школьной программы</a:t>
            </a:r>
            <a:endParaRPr lang="ru-RU" sz="1566" spc="31" dirty="0"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5805714" y="822326"/>
            <a:ext cx="572346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4160"/>
              </a:lnSpc>
              <a:defRPr/>
            </a:pPr>
            <a:r>
              <a:rPr lang="en-US" sz="3200" spc="-32" dirty="0" err="1">
                <a:solidFill>
                  <a:srgbClr val="243D6D"/>
                </a:solidFill>
                <a:latin typeface="Lato"/>
              </a:rPr>
              <a:t>Банк</a:t>
            </a:r>
            <a:r>
              <a:rPr lang="en-US" sz="3200" spc="-32" dirty="0">
                <a:solidFill>
                  <a:srgbClr val="243D6D"/>
                </a:solidFill>
                <a:latin typeface="Lato"/>
              </a:rPr>
              <a:t> д</a:t>
            </a:r>
            <a:r>
              <a:rPr lang="ru-RU" sz="3200" spc="-32" dirty="0" err="1">
                <a:solidFill>
                  <a:srgbClr val="243D6D"/>
                </a:solidFill>
                <a:latin typeface="Lato"/>
              </a:rPr>
              <a:t>омашни</a:t>
            </a:r>
            <a:r>
              <a:rPr lang="en-US" sz="3200" spc="-32" dirty="0">
                <a:solidFill>
                  <a:srgbClr val="243D6D"/>
                </a:solidFill>
                <a:latin typeface="Lato"/>
              </a:rPr>
              <a:t>х</a:t>
            </a:r>
            <a:r>
              <a:rPr lang="ru-RU" sz="3200" spc="-32" dirty="0">
                <a:solidFill>
                  <a:srgbClr val="243D6D"/>
                </a:solidFill>
                <a:latin typeface="Lato"/>
              </a:rPr>
              <a:t> </a:t>
            </a:r>
            <a:r>
              <a:rPr lang="ru-RU" sz="3200" spc="-32" dirty="0" err="1">
                <a:solidFill>
                  <a:srgbClr val="243D6D"/>
                </a:solidFill>
                <a:latin typeface="Lato"/>
              </a:rPr>
              <a:t>задани</a:t>
            </a:r>
            <a:r>
              <a:rPr lang="en-US" sz="3200" spc="-32" dirty="0">
                <a:solidFill>
                  <a:srgbClr val="243D6D"/>
                </a:solidFill>
                <a:latin typeface="Lato"/>
              </a:rPr>
              <a:t>й</a:t>
            </a:r>
            <a:endParaRPr lang="ru-RU" sz="3200" spc="-32" dirty="0">
              <a:solidFill>
                <a:srgbClr val="243D6D"/>
              </a:solidFill>
              <a:latin typeface="Lato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314772" y="2556966"/>
            <a:ext cx="5407025" cy="112851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Задача:</a:t>
            </a:r>
          </a:p>
          <a:p>
            <a:pPr>
              <a:lnSpc>
                <a:spcPts val="2193"/>
              </a:lnSpc>
              <a:defRPr/>
            </a:pPr>
            <a:endParaRPr lang="ru-RU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  <a:defRPr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помочь учителями автоматизировать процесс выдачи и проверки домашних заданий для экономии времени.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4772" y="3997716"/>
            <a:ext cx="5407025" cy="251350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2193"/>
              </a:lnSpc>
              <a:spcAft>
                <a:spcPts val="533"/>
              </a:spcAft>
              <a:defRPr/>
            </a:pP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Результат:</a:t>
            </a:r>
          </a:p>
          <a:p>
            <a:pPr marL="304815" indent="-304815">
              <a:lnSpc>
                <a:spcPts val="2193"/>
              </a:lnSpc>
              <a:spcAft>
                <a:spcPts val="533"/>
              </a:spcAft>
              <a:buFontTx/>
              <a:buAutoNum type="arabicPeriod"/>
              <a:defRPr/>
            </a:pP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Учитель может быстро и легко создать домашнее задание</a:t>
            </a:r>
          </a:p>
          <a:p>
            <a:pPr marL="304815" indent="-304815">
              <a:lnSpc>
                <a:spcPts val="2193"/>
              </a:lnSpc>
              <a:spcAft>
                <a:spcPts val="533"/>
              </a:spcAft>
              <a:buFontTx/>
              <a:buAutoNum type="arabicPeriod"/>
              <a:defRPr/>
            </a:pP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Отправить задания можно из электронных дневников</a:t>
            </a:r>
          </a:p>
          <a:p>
            <a:pPr marL="304815" indent="-304815">
              <a:lnSpc>
                <a:spcPts val="2193"/>
              </a:lnSpc>
              <a:spcAft>
                <a:spcPts val="533"/>
              </a:spcAft>
              <a:buAutoNum type="arabicPeriod"/>
              <a:defRPr/>
            </a:pP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Учащийся выполняет задание  в любом удобном месте </a:t>
            </a:r>
          </a:p>
          <a:p>
            <a:pPr marL="304815" indent="-304815">
              <a:lnSpc>
                <a:spcPts val="2193"/>
              </a:lnSpc>
              <a:spcAft>
                <a:spcPts val="533"/>
              </a:spcAft>
              <a:buAutoNum type="arabicPeriod"/>
              <a:defRPr/>
            </a:pPr>
            <a:r>
              <a:rPr lang="ru-RU" sz="1566" spc="31" dirty="0">
                <a:solidFill>
                  <a:srgbClr val="14110F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Задание автоматически проверяется</a:t>
            </a:r>
            <a:endParaRPr lang="ru-RU" sz="1566" spc="31" dirty="0">
              <a:solidFill>
                <a:srgbClr val="00B050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48000" y="3121224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sz="1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320800" y="1352385"/>
            <a:ext cx="6686550" cy="4603750"/>
          </a:xfrm>
          <a:prstGeom prst="rect">
            <a:avLst/>
          </a:prstGeom>
        </p:spPr>
      </p:pic>
      <p:sp>
        <p:nvSpPr>
          <p:cNvPr id="12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9276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-3051" y="1029097"/>
            <a:ext cx="12191999" cy="537170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2" name="TextBox 451"/>
          <p:cNvSpPr txBox="1"/>
          <p:nvPr/>
        </p:nvSpPr>
        <p:spPr>
          <a:xfrm>
            <a:off x="7970176" y="1218739"/>
            <a:ext cx="3874493" cy="353943"/>
          </a:xfrm>
          <a:prstGeom prst="rect">
            <a:avLst/>
          </a:prstGeom>
          <a:solidFill>
            <a:srgbClr val="2E75B6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sz="2000" dirty="0" smtClean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1600" dirty="0" smtClean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20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dirty="0" smtClean="0">
                <a:solidFill>
                  <a:schemeClr val="bg1"/>
                </a:solidFill>
                <a:latin typeface="+mn-lt"/>
              </a:rPr>
              <a:t>https</a:t>
            </a:r>
            <a:r>
              <a:rPr lang="en-US" sz="2000" dirty="0">
                <a:solidFill>
                  <a:schemeClr val="bg1"/>
                </a:solidFill>
                <a:latin typeface="+mn-lt"/>
              </a:rPr>
              <a:t>://uchitel.club/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53" name="TextBox 452"/>
          <p:cNvSpPr txBox="1"/>
          <p:nvPr/>
        </p:nvSpPr>
        <p:spPr>
          <a:xfrm>
            <a:off x="8055034" y="2173022"/>
            <a:ext cx="397715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ru-RU" dirty="0" smtClean="0"/>
              <a:t>Портал, на </a:t>
            </a:r>
            <a:r>
              <a:rPr lang="ru-RU" dirty="0"/>
              <a:t>котором </a:t>
            </a:r>
            <a:r>
              <a:rPr lang="ru-RU" dirty="0" smtClean="0"/>
              <a:t>собраны нормативные документы и методические материалы в  помощь учителям для организации </a:t>
            </a:r>
            <a:r>
              <a:rPr lang="ru-RU" dirty="0"/>
              <a:t>обучения </a:t>
            </a:r>
            <a:r>
              <a:rPr lang="ru-RU" dirty="0" smtClean="0"/>
              <a:t>в период перехода на ФГОС</a:t>
            </a:r>
          </a:p>
          <a:p>
            <a:r>
              <a:rPr lang="ru-RU" dirty="0" smtClean="0"/>
              <a:t>Онлайн консультации для педагогов по разработке рабочих программ</a:t>
            </a:r>
          </a:p>
          <a:p>
            <a:r>
              <a:rPr lang="ru-RU" dirty="0"/>
              <a:t> О</a:t>
            </a:r>
            <a:r>
              <a:rPr lang="ru-RU" dirty="0" smtClean="0"/>
              <a:t>нлайн мероприятия и конференции</a:t>
            </a:r>
          </a:p>
          <a:p>
            <a:pPr>
              <a:spcBef>
                <a:spcPts val="0"/>
              </a:spcBef>
            </a:pPr>
            <a:r>
              <a:rPr lang="ru-RU" dirty="0" smtClean="0"/>
              <a:t>Горячая линия поддержки</a:t>
            </a:r>
            <a:r>
              <a:rPr lang="en-US" dirty="0"/>
              <a:t> </a:t>
            </a:r>
            <a:r>
              <a:rPr lang="ru-RU" dirty="0" smtClean="0"/>
              <a:t>24/7</a:t>
            </a:r>
            <a:r>
              <a:rPr lang="en-US" dirty="0" smtClean="0"/>
              <a:t> </a:t>
            </a:r>
            <a:r>
              <a:rPr lang="en-US" dirty="0" smtClean="0">
                <a:hlinkClick r:id="rId3"/>
              </a:rPr>
              <a:t>vopros@prosv.ru</a:t>
            </a:r>
            <a:r>
              <a:rPr lang="en-US" dirty="0" smtClean="0"/>
              <a:t> </a:t>
            </a:r>
            <a:endParaRPr lang="ru-RU" dirty="0" smtClean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10" y="705954"/>
            <a:ext cx="7540648" cy="5633930"/>
          </a:xfrm>
          <a:prstGeom prst="rect">
            <a:avLst/>
          </a:prstGeom>
        </p:spPr>
      </p:pic>
      <p:sp>
        <p:nvSpPr>
          <p:cNvPr id="13" name="Прямоугольник 37">
            <a:extLst>
              <a:ext uri="{FF2B5EF4-FFF2-40B4-BE49-F238E27FC236}">
                <a16:creationId xmlns:a16="http://schemas.microsoft.com/office/drawing/2014/main" id="{ADD2FEA0-DF27-4BDA-A6EA-B34D383D5BAA}"/>
              </a:ext>
            </a:extLst>
          </p:cNvPr>
          <p:cNvSpPr/>
          <p:nvPr/>
        </p:nvSpPr>
        <p:spPr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 panose="02020603050405020304" pitchFamily="18" charset="0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 panose="02020603050405020304" pitchFamily="18" charset="0"/>
              </a:rPr>
              <a:t>2021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2154518" y="156734"/>
            <a:ext cx="90721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тернет-ресурс поддержки педагогов в период перехода на ФГОС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667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/>
          <p:cNvSpPr/>
          <p:nvPr/>
        </p:nvSpPr>
        <p:spPr>
          <a:xfrm>
            <a:off x="0" y="1142332"/>
            <a:ext cx="12192000" cy="3002315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  <a:latin typeface="Lato Bold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smtClean="0"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  <a:defRPr/>
              </a:pPr>
              <a:t>37</a:t>
            </a:fld>
            <a:endParaRPr kumimoji="0" lang="ru-RU" sz="1200" b="0" i="0" u="none" strike="noStrike" kern="1200" cap="none" spc="0" normalizeH="0" baseline="0"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53670" y="219554"/>
            <a:ext cx="1152958" cy="387325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schemeClr val="bg1"/>
                </a:solidFill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1934850" y="140514"/>
            <a:ext cx="98338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b="1" dirty="0">
                <a:solidFill>
                  <a:srgbClr val="002060"/>
                </a:solidFill>
                <a:ea typeface="Cambria" panose="02040503050406030204" pitchFamily="18" charset="0"/>
              </a:rPr>
              <a:t> </a:t>
            </a:r>
            <a:r>
              <a:rPr lang="ru-RU" sz="2133" dirty="0" smtClean="0">
                <a:solidFill>
                  <a:srgbClr val="2D2B8D"/>
                </a:solidFill>
                <a:ea typeface="Cambria" panose="02040503050406030204" pitchFamily="18" charset="0"/>
              </a:rPr>
              <a:t>Как заказать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? </a:t>
            </a:r>
            <a:endParaRPr lang="en-US" sz="2133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428735" y="1621044"/>
            <a:ext cx="46503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002060"/>
                </a:solidFill>
                <a:ea typeface="Cambria" panose="02040503050406030204" pitchFamily="18" charset="0"/>
              </a:rPr>
              <a:t>За бюджетные средства  (только оптовые закупки учебников и учебных пособий):</a:t>
            </a:r>
          </a:p>
          <a:p>
            <a:r>
              <a:rPr lang="ru-RU" sz="1400" dirty="0" smtClean="0">
                <a:solidFill>
                  <a:srgbClr val="002060"/>
                </a:solidFill>
              </a:rPr>
              <a:t>Отдел </a:t>
            </a:r>
            <a:r>
              <a:rPr lang="ru-RU" sz="1400" dirty="0">
                <a:solidFill>
                  <a:srgbClr val="002060"/>
                </a:solidFill>
              </a:rPr>
              <a:t>по работе с государственными заказами: </a:t>
            </a:r>
          </a:p>
          <a:p>
            <a:r>
              <a:rPr lang="ru-RU" sz="1400" dirty="0">
                <a:solidFill>
                  <a:srgbClr val="002060"/>
                </a:solidFill>
              </a:rPr>
              <a:t>руководитель Трофимова Галина Владимировна </a:t>
            </a:r>
            <a:endParaRPr lang="ru-RU" sz="1400" dirty="0" smtClean="0">
              <a:solidFill>
                <a:srgbClr val="002060"/>
              </a:solidFill>
            </a:endParaRPr>
          </a:p>
          <a:p>
            <a:r>
              <a:rPr lang="ru-RU" sz="1400" dirty="0" smtClean="0">
                <a:solidFill>
                  <a:srgbClr val="002060"/>
                </a:solidFill>
              </a:rPr>
              <a:t>тел</a:t>
            </a:r>
            <a:r>
              <a:rPr lang="ru-RU" sz="1400" dirty="0">
                <a:solidFill>
                  <a:srgbClr val="002060"/>
                </a:solidFill>
              </a:rPr>
              <a:t>.: +7 (495) 789-30-40, доб. 41-44, </a:t>
            </a:r>
          </a:p>
          <a:p>
            <a:r>
              <a:rPr lang="ru-RU" sz="1400" dirty="0">
                <a:solidFill>
                  <a:srgbClr val="002060"/>
                </a:solidFill>
              </a:rPr>
              <a:t>e-</a:t>
            </a:r>
            <a:r>
              <a:rPr lang="ru-RU" sz="1400" dirty="0" err="1">
                <a:solidFill>
                  <a:srgbClr val="002060"/>
                </a:solidFill>
              </a:rPr>
              <a:t>mail</a:t>
            </a:r>
            <a:r>
              <a:rPr lang="ru-RU" sz="1400" dirty="0">
                <a:solidFill>
                  <a:srgbClr val="002060"/>
                </a:solidFill>
              </a:rPr>
              <a:t>: GTrofimova@prosv.ru</a:t>
            </a:r>
          </a:p>
          <a:p>
            <a:endParaRPr lang="ru-RU" sz="1600" dirty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2060"/>
                </a:solidFill>
                <a:ea typeface="Cambria" panose="02040503050406030204" pitchFamily="18" charset="0"/>
              </a:rPr>
              <a:t>Розница:</a:t>
            </a:r>
            <a:r>
              <a:rPr lang="ru-RU" sz="1400" b="1" dirty="0">
                <a:solidFill>
                  <a:srgbClr val="2D2B8D"/>
                </a:solidFill>
                <a:ea typeface="Cambria" panose="02040503050406030204" pitchFamily="18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</a:rPr>
              <a:t>заказ </a:t>
            </a:r>
            <a:r>
              <a:rPr lang="ru-RU" sz="1400" dirty="0">
                <a:solidFill>
                  <a:srgbClr val="002060"/>
                </a:solidFill>
              </a:rPr>
              <a:t>в </a:t>
            </a:r>
            <a:r>
              <a:rPr lang="ru-RU" sz="1400" dirty="0" smtClean="0">
                <a:solidFill>
                  <a:srgbClr val="002060"/>
                </a:solidFill>
              </a:rPr>
              <a:t>интернет-магазине ГК «Просвещение» shop.prosv.ru </a:t>
            </a:r>
            <a:endParaRPr lang="ru-RU" sz="1400" dirty="0">
              <a:solidFill>
                <a:srgbClr val="002060"/>
              </a:solidFill>
            </a:endParaRPr>
          </a:p>
        </p:txBody>
      </p:sp>
      <p:pic>
        <p:nvPicPr>
          <p:cNvPr id="2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957233" y="5396750"/>
            <a:ext cx="402328" cy="4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3283088" y="5131529"/>
            <a:ext cx="23100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shop.prosv.ru</a:t>
            </a:r>
            <a:r>
              <a:rPr lang="en-US" dirty="0" smtClean="0">
                <a:hlinkClick r:id="rId3"/>
              </a:rPr>
              <a:t>/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31" name="Picture 2" descr="http://qrcoder.ru/code/?https%3A%2F%2Fshop.prosv.ru%2F&amp;6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375" y="4470400"/>
            <a:ext cx="188595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6749935" y="1633202"/>
            <a:ext cx="52120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ea typeface="Cambria" panose="02040503050406030204" pitchFamily="18" charset="0"/>
              </a:rPr>
              <a:t>По приобретению для государственных структур  </a:t>
            </a:r>
          </a:p>
          <a:p>
            <a:r>
              <a:rPr lang="ru-RU" sz="1400" dirty="0">
                <a:solidFill>
                  <a:srgbClr val="002060"/>
                </a:solidFill>
              </a:rPr>
              <a:t>Антонова Ольга, тел.: 8 (495) 789-30-40, доб. 4919</a:t>
            </a:r>
          </a:p>
          <a:p>
            <a:r>
              <a:rPr lang="en-US" sz="1400" dirty="0">
                <a:solidFill>
                  <a:srgbClr val="002060"/>
                </a:solidFill>
              </a:rPr>
              <a:t>Email</a:t>
            </a:r>
            <a:r>
              <a:rPr lang="ru-RU" sz="1400" dirty="0">
                <a:solidFill>
                  <a:srgbClr val="002060"/>
                </a:solidFill>
              </a:rPr>
              <a:t>: </a:t>
            </a:r>
            <a:r>
              <a:rPr lang="en-US" sz="1400" dirty="0">
                <a:solidFill>
                  <a:srgbClr val="002060"/>
                </a:solidFill>
                <a:hlinkClick r:id="rId5"/>
              </a:rPr>
              <a:t>OEAntonova@prosv.ru</a:t>
            </a:r>
            <a:r>
              <a:rPr lang="en-US" sz="1400" dirty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367583" y="1171537"/>
            <a:ext cx="47114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b="1" dirty="0">
                <a:solidFill>
                  <a:srgbClr val="002060"/>
                </a:solidFill>
                <a:ea typeface="Cambria" panose="02040503050406030204" pitchFamily="18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ea typeface="Cambria" panose="02040503050406030204" pitchFamily="18" charset="0"/>
              </a:rPr>
              <a:t>Учебники и учебные пособия </a:t>
            </a:r>
            <a:endParaRPr lang="en-US" sz="1600" b="1" dirty="0">
              <a:solidFill>
                <a:srgbClr val="002060"/>
              </a:solidFill>
              <a:ea typeface="Cambria" panose="020405030504060302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640931" y="1101154"/>
            <a:ext cx="44236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ea typeface="Cambria" panose="02040503050406030204" pitchFamily="18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ea typeface="Cambria" panose="02040503050406030204" pitchFamily="18" charset="0"/>
              </a:rPr>
              <a:t>Цифровые сервисы</a:t>
            </a:r>
            <a:endParaRPr lang="en-US" sz="1600" b="1" dirty="0">
              <a:solidFill>
                <a:srgbClr val="002060"/>
              </a:solidFill>
              <a:ea typeface="Cambria" panose="020405030504060302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260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568036" y="1791699"/>
            <a:ext cx="5338860" cy="47089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Единство образовательного пространства </a:t>
            </a:r>
            <a:r>
              <a:rPr lang="ru-RU" sz="1400" b="1" dirty="0" smtClean="0">
                <a:ea typeface="Yu Gothic UI Light" panose="020B0300000000000000" pitchFamily="34" charset="-128"/>
              </a:rPr>
              <a:t>РФ</a:t>
            </a:r>
            <a:r>
              <a:rPr lang="ru-RU" sz="1200" dirty="0" smtClean="0">
                <a:ea typeface="Yu Gothic UI Light" panose="020B0300000000000000" pitchFamily="34" charset="-128"/>
              </a:rPr>
              <a:t>, в </a:t>
            </a:r>
            <a:r>
              <a:rPr lang="ru-RU" sz="1200" dirty="0" err="1" smtClean="0">
                <a:ea typeface="Yu Gothic UI Light" panose="020B0300000000000000" pitchFamily="34" charset="-128"/>
              </a:rPr>
              <a:t>т.ч</a:t>
            </a:r>
            <a:r>
              <a:rPr lang="ru-RU" sz="1200" dirty="0" smtClean="0">
                <a:ea typeface="Yu Gothic UI Light" panose="020B0300000000000000" pitchFamily="34" charset="-128"/>
              </a:rPr>
              <a:t>. единство </a:t>
            </a:r>
            <a:r>
              <a:rPr lang="ru-RU" sz="1200" dirty="0">
                <a:ea typeface="Yu Gothic UI Light" panose="020B0300000000000000" pitchFamily="34" charset="-128"/>
              </a:rPr>
              <a:t>учебной и воспитательной деятельности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Преемственность образовательных программ </a:t>
            </a:r>
            <a:r>
              <a:rPr lang="ru-RU" sz="1200" dirty="0">
                <a:ea typeface="Yu Gothic UI Light" panose="020B0300000000000000" pitchFamily="34" charset="-128"/>
              </a:rPr>
              <a:t>разных уровней образования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Вариативность </a:t>
            </a:r>
            <a:r>
              <a:rPr lang="ru-RU" sz="1400" b="1" dirty="0" smtClean="0">
                <a:ea typeface="Yu Gothic UI Light" panose="020B0300000000000000" pitchFamily="34" charset="-128"/>
              </a:rPr>
              <a:t>содержания </a:t>
            </a:r>
            <a:r>
              <a:rPr lang="ru-RU" sz="1200" dirty="0" smtClean="0">
                <a:ea typeface="Yu Gothic UI Light" panose="020B0300000000000000" pitchFamily="34" charset="-128"/>
              </a:rPr>
              <a:t>образовательных программ</a:t>
            </a:r>
            <a:endParaRPr lang="ru-RU" sz="12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Государственные гарантии </a:t>
            </a:r>
            <a:r>
              <a:rPr lang="ru-RU" sz="1200" dirty="0">
                <a:ea typeface="Yu Gothic UI Light" panose="020B0300000000000000" pitchFamily="34" charset="-128"/>
              </a:rPr>
              <a:t>получения </a:t>
            </a:r>
            <a:r>
              <a:rPr lang="ru-RU" sz="1400" b="1" dirty="0">
                <a:ea typeface="Yu Gothic UI Light" panose="020B0300000000000000" pitchFamily="34" charset="-128"/>
              </a:rPr>
              <a:t>доступного качественного образования</a:t>
            </a:r>
            <a:r>
              <a:rPr lang="ru-RU" sz="1200" b="1" dirty="0">
                <a:ea typeface="Yu Gothic UI Light" panose="020B0300000000000000" pitchFamily="34" charset="-128"/>
              </a:rPr>
              <a:t> </a:t>
            </a:r>
            <a:r>
              <a:rPr lang="ru-RU" sz="1200" dirty="0">
                <a:ea typeface="Yu Gothic UI Light" panose="020B0300000000000000" pitchFamily="34" charset="-128"/>
              </a:rPr>
              <a:t>на </a:t>
            </a:r>
            <a:r>
              <a:rPr lang="ru-RU" sz="1200" dirty="0" smtClean="0">
                <a:ea typeface="Yu Gothic UI Light" panose="020B0300000000000000" pitchFamily="34" charset="-128"/>
              </a:rPr>
              <a:t>основе </a:t>
            </a:r>
            <a:r>
              <a:rPr lang="ru-RU" sz="1200" dirty="0">
                <a:ea typeface="Yu Gothic UI Light" panose="020B0300000000000000" pitchFamily="34" charset="-128"/>
              </a:rPr>
              <a:t>единства обязательных требований к условиям и </a:t>
            </a:r>
            <a:r>
              <a:rPr lang="ru-RU" sz="1200" dirty="0" smtClean="0">
                <a:ea typeface="Yu Gothic UI Light" panose="020B0300000000000000" pitchFamily="34" charset="-128"/>
              </a:rPr>
              <a:t>результатам</a:t>
            </a:r>
            <a:endParaRPr lang="ru-RU" sz="1200" dirty="0">
              <a:ea typeface="Yu Gothic UI Light" panose="020B0300000000000000" pitchFamily="34" charset="-128"/>
            </a:endParaRP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400" b="1" dirty="0">
                <a:ea typeface="Yu Gothic UI Light" panose="020B0300000000000000" pitchFamily="34" charset="-128"/>
              </a:rPr>
              <a:t>российской гражданской идентичности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a typeface="Yu Gothic UI Light" panose="020B0300000000000000" pitchFamily="34" charset="-128"/>
              </a:rPr>
              <a:t>Сохранение и </a:t>
            </a:r>
            <a:r>
              <a:rPr lang="ru-RU" sz="1400" b="1" dirty="0">
                <a:ea typeface="Yu Gothic UI Light" panose="020B0300000000000000" pitchFamily="34" charset="-128"/>
              </a:rPr>
              <a:t>развитие культурного разнообразия и языкового наследия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Равные возможности </a:t>
            </a:r>
            <a:r>
              <a:rPr lang="ru-RU" sz="1200" dirty="0">
                <a:ea typeface="Yu Gothic UI Light" panose="020B0300000000000000" pitchFamily="34" charset="-128"/>
              </a:rPr>
              <a:t>получения образования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200" dirty="0">
                <a:ea typeface="Yu Gothic UI Light" panose="020B0300000000000000" pitchFamily="34" charset="-128"/>
              </a:rPr>
              <a:t>навыков </a:t>
            </a:r>
            <a:r>
              <a:rPr lang="ru-RU" sz="1400" b="1" dirty="0">
                <a:ea typeface="Yu Gothic UI Light" panose="020B0300000000000000" pitchFamily="34" charset="-128"/>
              </a:rPr>
              <a:t>здорового образа жизни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Освоение </a:t>
            </a:r>
            <a:r>
              <a:rPr lang="ru-RU" sz="1200" dirty="0">
                <a:ea typeface="Yu Gothic UI Light" panose="020B0300000000000000" pitchFamily="34" charset="-128"/>
              </a:rPr>
              <a:t>всеми обучающимися </a:t>
            </a:r>
            <a:r>
              <a:rPr lang="ru-RU" sz="1400" b="1" dirty="0">
                <a:ea typeface="Yu Gothic UI Light" panose="020B0300000000000000" pitchFamily="34" charset="-128"/>
              </a:rPr>
              <a:t>базовых навыков, компетенций </a:t>
            </a:r>
            <a:r>
              <a:rPr lang="ru-RU" sz="1200" dirty="0">
                <a:ea typeface="Yu Gothic UI Light" panose="020B0300000000000000" pitchFamily="34" charset="-128"/>
              </a:rPr>
              <a:t>(только с уровня ООО)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Безопасное использование цифровых технологий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" y="1032065"/>
            <a:ext cx="12189858" cy="586701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81507" y="194745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 – 2021: введение с 1 сентября 2022 г. </a:t>
            </a:r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17194" y="1184858"/>
            <a:ext cx="9519394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Цели ФГОС НОО и ООО закрепляют: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5" name="TextBox 6"/>
          <p:cNvSpPr txBox="1"/>
          <p:nvPr/>
        </p:nvSpPr>
        <p:spPr>
          <a:xfrm>
            <a:off x="6456790" y="1791699"/>
            <a:ext cx="5388077" cy="45243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Личностное развитие</a:t>
            </a:r>
            <a:r>
              <a:rPr lang="ru-RU" sz="1200" dirty="0">
                <a:ea typeface="Yu Gothic UI Light" panose="020B0300000000000000" pitchFamily="34" charset="-128"/>
              </a:rPr>
              <a:t>: гражданское, патриотическое, духовно – нравственное, эстетическое, физическое, трудовое, экологическое, ценность научного </a:t>
            </a:r>
            <a:r>
              <a:rPr lang="ru-RU" sz="1200" dirty="0" smtClean="0">
                <a:ea typeface="Yu Gothic UI Light" panose="020B0300000000000000" pitchFamily="34" charset="-128"/>
              </a:rPr>
              <a:t>познания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Уважение к личности обучающегося</a:t>
            </a:r>
            <a:r>
              <a:rPr lang="ru-RU" sz="1200" dirty="0">
                <a:ea typeface="Yu Gothic UI Light" panose="020B0300000000000000" pitchFamily="34" charset="-128"/>
              </a:rPr>
              <a:t>, развитие в детской среде уважения к себе и другим (только с уровня ООО)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Развитие личностных качеств для адекватной ориентации </a:t>
            </a:r>
            <a:r>
              <a:rPr lang="ru-RU" sz="1400" b="1" dirty="0" smtClean="0">
                <a:ea typeface="Yu Gothic UI Light" panose="020B0300000000000000" pitchFamily="34" charset="-128"/>
              </a:rPr>
              <a:t/>
            </a:r>
            <a:br>
              <a:rPr lang="ru-RU" sz="1400" b="1" dirty="0" smtClean="0">
                <a:ea typeface="Yu Gothic UI Light" panose="020B0300000000000000" pitchFamily="34" charset="-128"/>
              </a:rPr>
            </a:br>
            <a:r>
              <a:rPr lang="ru-RU" sz="1400" b="1" dirty="0" smtClean="0">
                <a:ea typeface="Yu Gothic UI Light" panose="020B0300000000000000" pitchFamily="34" charset="-128"/>
              </a:rPr>
              <a:t>в </a:t>
            </a:r>
            <a:r>
              <a:rPr lang="ru-RU" sz="1400" b="1" dirty="0">
                <a:ea typeface="Yu Gothic UI Light" panose="020B0300000000000000" pitchFamily="34" charset="-128"/>
              </a:rPr>
              <a:t>окружающем мире</a:t>
            </a:r>
            <a:r>
              <a:rPr lang="ru-RU" sz="1200" b="1" dirty="0">
                <a:ea typeface="Yu Gothic UI Light" panose="020B0300000000000000" pitchFamily="34" charset="-128"/>
              </a:rPr>
              <a:t>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a typeface="Yu Gothic UI Light" panose="020B0300000000000000" pitchFamily="34" charset="-128"/>
              </a:rPr>
              <a:t>Развитие </a:t>
            </a:r>
            <a:r>
              <a:rPr lang="ru-RU" sz="1400" b="1" dirty="0">
                <a:ea typeface="Yu Gothic UI Light" panose="020B0300000000000000" pitchFamily="34" charset="-128"/>
              </a:rPr>
              <a:t>государственно-общественного управления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a typeface="Yu Gothic UI Light" panose="020B0300000000000000" pitchFamily="34" charset="-128"/>
              </a:rPr>
              <a:t>Формирование </a:t>
            </a:r>
            <a:r>
              <a:rPr lang="ru-RU" sz="1400" b="1" dirty="0">
                <a:ea typeface="Yu Gothic UI Light" panose="020B0300000000000000" pitchFamily="34" charset="-128"/>
              </a:rPr>
              <a:t>системных знаний о месте РФ в мире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a typeface="Yu Gothic UI Light" panose="020B0300000000000000" pitchFamily="34" charset="-128"/>
              </a:rPr>
              <a:t>Развитие </a:t>
            </a:r>
            <a:r>
              <a:rPr lang="ru-RU" sz="1400" b="1" dirty="0">
                <a:ea typeface="Yu Gothic UI Light" panose="020B0300000000000000" pitchFamily="34" charset="-128"/>
              </a:rPr>
              <a:t>представлений о высоком уровне научно-технологического развития страны 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Индивидуальное развитие </a:t>
            </a:r>
            <a:r>
              <a:rPr lang="ru-RU" sz="1200" dirty="0">
                <a:ea typeface="Yu Gothic UI Light" panose="020B0300000000000000" pitchFamily="34" charset="-128"/>
              </a:rPr>
              <a:t>обучающихся с учетом получения предпрофессиональных знаний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ea typeface="Yu Gothic UI Light" panose="020B0300000000000000" pitchFamily="34" charset="-128"/>
              </a:rPr>
              <a:t>Направленность на </a:t>
            </a:r>
            <a:r>
              <a:rPr lang="ru-RU" sz="1400" b="1" dirty="0">
                <a:ea typeface="Yu Gothic UI Light" panose="020B0300000000000000" pitchFamily="34" charset="-128"/>
              </a:rPr>
              <a:t>коллективную работу, личностно значимую деятельность</a:t>
            </a:r>
          </a:p>
          <a:p>
            <a:pPr marL="190510" indent="-19051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ea typeface="Yu Gothic UI Light" panose="020B0300000000000000" pitchFamily="34" charset="-128"/>
              </a:rPr>
              <a:t>Специальные условия для обучающихся с ОВЗ </a:t>
            </a:r>
            <a:r>
              <a:rPr lang="ru-RU" sz="1200" dirty="0">
                <a:ea typeface="Yu Gothic UI Light" panose="020B0300000000000000" pitchFamily="34" charset="-128"/>
              </a:rPr>
              <a:t>(ООО</a:t>
            </a:r>
            <a:r>
              <a:rPr lang="ru-RU" sz="1200" dirty="0" smtClean="0">
                <a:ea typeface="Yu Gothic UI Light" panose="020B0300000000000000" pitchFamily="34" charset="-128"/>
              </a:rPr>
              <a:t>)</a:t>
            </a:r>
            <a:endParaRPr lang="ru-RU" sz="1200" dirty="0">
              <a:ea typeface="Yu Gothic UI Light" panose="020B0300000000000000" pitchFamily="34" charset="-128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086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0357160"/>
              </p:ext>
            </p:extLst>
          </p:nvPr>
        </p:nvGraphicFramePr>
        <p:xfrm>
          <a:off x="4319835" y="764772"/>
          <a:ext cx="7077213" cy="5087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3" name="Лист" r:id="rId4" imgW="6572178" imgH="4724343" progId="Excel.Sheet.12">
                  <p:embed/>
                </p:oleObj>
              </mc:Choice>
              <mc:Fallback>
                <p:oleObj name="Лист" r:id="rId4" imgW="6572178" imgH="472434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19835" y="764772"/>
                        <a:ext cx="7077213" cy="5087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Группа 4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4" name="Прямая соединительная линия 6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881507" y="194745"/>
            <a:ext cx="1023013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 – 2021: сроки введения и рекомендации ГК «Просвещение» по переходу</a:t>
            </a:r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7464722" y="1031054"/>
            <a:ext cx="3932326" cy="3624350"/>
          </a:xfrm>
          <a:prstGeom prst="rect">
            <a:avLst/>
          </a:prstGeom>
          <a:solidFill>
            <a:schemeClr val="accent1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65282" y="1629799"/>
            <a:ext cx="4273714" cy="2718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b="1" dirty="0" smtClean="0"/>
              <a:t>2022 – </a:t>
            </a:r>
            <a:r>
              <a:rPr lang="ru-RU" sz="1400" dirty="0" smtClean="0"/>
              <a:t>переход на ФГОС с использованием учебников </a:t>
            </a:r>
            <a:r>
              <a:rPr lang="ru-RU" sz="1400" b="1" dirty="0" smtClean="0"/>
              <a:t>текущего ФПУ для учащихся, зачисленных в 1 и 5 классы в 2022 г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с 2022 г. </a:t>
            </a:r>
            <a:r>
              <a:rPr lang="ru-RU" sz="1400" dirty="0" smtClean="0"/>
              <a:t>переход на ФГОС </a:t>
            </a:r>
            <a:r>
              <a:rPr lang="ru-RU" sz="1400" b="1" dirty="0" smtClean="0"/>
              <a:t>в рамках отдельных предметов, </a:t>
            </a:r>
            <a:r>
              <a:rPr lang="ru-RU" sz="1400" dirty="0" smtClean="0"/>
              <a:t>изучение которых начинается </a:t>
            </a:r>
            <a:r>
              <a:rPr lang="ru-RU" sz="1400" b="1" dirty="0" smtClean="0"/>
              <a:t>в 6х, 7х и 8х классах</a:t>
            </a:r>
            <a:endParaRPr lang="en-US" sz="1400" b="1" dirty="0" smtClean="0"/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2022 </a:t>
            </a:r>
            <a:r>
              <a:rPr lang="ru-RU" sz="1400" b="1" dirty="0"/>
              <a:t>год </a:t>
            </a:r>
            <a:r>
              <a:rPr lang="ru-RU" sz="1400" dirty="0" smtClean="0"/>
              <a:t>– возможность для школ </a:t>
            </a:r>
            <a:r>
              <a:rPr lang="ru-RU" sz="1400" b="1" dirty="0"/>
              <a:t>докупить актуальные учебники </a:t>
            </a:r>
            <a:r>
              <a:rPr lang="ru-RU" sz="1400" dirty="0" smtClean="0"/>
              <a:t>(не ранее 2020 </a:t>
            </a:r>
            <a:r>
              <a:rPr lang="ru-RU" sz="1400" dirty="0"/>
              <a:t>года издания) </a:t>
            </a:r>
            <a:r>
              <a:rPr lang="ru-RU" sz="1400" b="1" dirty="0"/>
              <a:t>и </a:t>
            </a:r>
            <a:r>
              <a:rPr lang="ru-RU" sz="1400" b="1" dirty="0" smtClean="0"/>
              <a:t>компоненты УМК, соответствующие ФГОС НОО и ООО 2009, 2010 гг.  для учащихся, зачисленных на обучение до 2022 г.  </a:t>
            </a:r>
            <a:endParaRPr lang="ru-RU" sz="14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0" y="6081206"/>
            <a:ext cx="12192000" cy="369332"/>
          </a:xfrm>
          <a:prstGeom prst="rect">
            <a:avLst/>
          </a:prstGeom>
          <a:solidFill>
            <a:srgbClr val="38658E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! График перехода требует согласования с Министерством просвещения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1023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/>
          <p:nvPr/>
        </p:nvSpPr>
        <p:spPr>
          <a:xfrm>
            <a:off x="1744756" y="1767233"/>
            <a:ext cx="9890728" cy="27699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b="1" dirty="0">
                <a:ea typeface="Yu Gothic UI Semibold" panose="020B0700000000000000" pitchFamily="34" charset="-128"/>
              </a:rPr>
              <a:t>Пункт 36. 1 (НОО), пункт 37.2 (ООО</a:t>
            </a:r>
            <a:r>
              <a:rPr lang="ru-RU" b="1" dirty="0" smtClean="0">
                <a:ea typeface="Yu Gothic UI Semibold" panose="020B0700000000000000" pitchFamily="34" charset="-128"/>
              </a:rPr>
              <a:t>)</a:t>
            </a:r>
            <a:r>
              <a:rPr lang="ru-RU" b="1" dirty="0">
                <a:ea typeface="Yu Gothic UI Light" panose="020B0300000000000000" pitchFamily="34" charset="-128"/>
              </a:rPr>
              <a:t/>
            </a:r>
            <a:br>
              <a:rPr lang="ru-RU" b="1" dirty="0">
                <a:ea typeface="Yu Gothic UI Light" panose="020B0300000000000000" pitchFamily="34" charset="-128"/>
              </a:rPr>
            </a:br>
            <a:r>
              <a:rPr lang="ru-RU" dirty="0">
                <a:ea typeface="Yu Gothic UI Light" panose="020B0300000000000000" pitchFamily="34" charset="-128"/>
              </a:rPr>
              <a:t>Каждому учащемуся - учебник и(или) учебное пособие, необходимого для реализации как обязательной части учебного плана, так и части по выбору участниками образовательных отношений;</a:t>
            </a:r>
          </a:p>
          <a:p>
            <a:r>
              <a:rPr lang="ru-RU" dirty="0">
                <a:ea typeface="Yu Gothic UI Light" panose="020B0300000000000000" pitchFamily="34" charset="-128"/>
              </a:rPr>
              <a:t/>
            </a:r>
            <a:br>
              <a:rPr lang="ru-RU" dirty="0">
                <a:ea typeface="Yu Gothic UI Light" panose="020B0300000000000000" pitchFamily="34" charset="-128"/>
              </a:rPr>
            </a:br>
            <a:r>
              <a:rPr lang="ru-RU" b="1" dirty="0">
                <a:ea typeface="Yu Gothic UI Semibold" panose="020B0700000000000000" pitchFamily="34" charset="-128"/>
              </a:rPr>
              <a:t>Дополнительно(!) </a:t>
            </a:r>
            <a:r>
              <a:rPr lang="ru-RU" dirty="0" smtClean="0">
                <a:ea typeface="Yu Gothic UI Light" panose="020B0300000000000000" pitchFamily="34" charset="-128"/>
              </a:rPr>
              <a:t>Организация </a:t>
            </a:r>
            <a:r>
              <a:rPr lang="ru-RU" dirty="0">
                <a:ea typeface="Yu Gothic UI Light" panose="020B0300000000000000" pitchFamily="34" charset="-128"/>
              </a:rPr>
              <a:t>может предоставлять пособия в электронной форме для 1 и 2 частей учебного плана.</a:t>
            </a:r>
          </a:p>
          <a:p>
            <a:r>
              <a:rPr lang="ru-RU" dirty="0">
                <a:ea typeface="Yu Gothic UI Light" panose="020B0300000000000000" pitchFamily="34" charset="-128"/>
              </a:rPr>
              <a:t/>
            </a:r>
            <a:br>
              <a:rPr lang="ru-RU" dirty="0">
                <a:ea typeface="Yu Gothic UI Light" panose="020B0300000000000000" pitchFamily="34" charset="-128"/>
              </a:rPr>
            </a:br>
            <a:r>
              <a:rPr lang="ru-RU" dirty="0">
                <a:ea typeface="Yu Gothic UI Light" panose="020B0300000000000000" pitchFamily="34" charset="-128"/>
              </a:rPr>
              <a:t>Обучающимся должен быть обеспечен доступ к печатным и электронным образовательным ресурсам, размещенным в федеральных и региональных базах данных </a:t>
            </a:r>
            <a:r>
              <a:rPr lang="ru-RU" dirty="0" smtClean="0">
                <a:ea typeface="Yu Gothic UI Light" panose="020B0300000000000000" pitchFamily="34" charset="-128"/>
              </a:rPr>
              <a:t>ЭОР</a:t>
            </a:r>
            <a:endParaRPr lang="en-US" dirty="0">
              <a:solidFill>
                <a:srgbClr val="000000"/>
              </a:solidFill>
              <a:ea typeface="Yu Gothic UI Light" panose="020B0300000000000000" pitchFamily="34" charset="-128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28" name="Прямая соединительная линия 27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159563" y="115318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-2021: Требования к учебно-методическому обеспечению</a:t>
            </a:r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0" y="872230"/>
            <a:ext cx="12187854" cy="625430"/>
          </a:xfrm>
          <a:prstGeom prst="rect">
            <a:avLst/>
          </a:prstGeom>
          <a:solidFill>
            <a:srgbClr val="E4F0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33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                                    </a:t>
            </a: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ормативы обеспеченности учащихся средствами обучения </a:t>
            </a:r>
          </a:p>
        </p:txBody>
      </p:sp>
      <p:sp>
        <p:nvSpPr>
          <p:cNvPr id="31" name="TextBox 5"/>
          <p:cNvSpPr txBox="1"/>
          <p:nvPr/>
        </p:nvSpPr>
        <p:spPr>
          <a:xfrm>
            <a:off x="1744756" y="5141582"/>
            <a:ext cx="9526385" cy="11079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dirty="0">
                <a:ea typeface="Yu Gothic UI Light" panose="020B0300000000000000" pitchFamily="34" charset="-128"/>
              </a:rPr>
              <a:t>Библиотека Организации должна быть укомплектована печатными образовательными ресурсами и ЭОР по всем предметам учебного плана и иметь фонд дополнительной литературы (художественная, научно-популярная, справочная и периодические издания)</a:t>
            </a:r>
          </a:p>
          <a:p>
            <a:endParaRPr lang="en-US" dirty="0">
              <a:ea typeface="Yu Gothic UI Light" panose="020B0300000000000000" pitchFamily="34" charset="-128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1503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3050" y="809114"/>
            <a:ext cx="12188950" cy="91139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53355" y="773137"/>
            <a:ext cx="104386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стоящее время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едеральный перечень </a:t>
            </a:r>
            <a:r>
              <a:rPr lang="ru-RU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иков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(Приказ </a:t>
            </a:r>
            <a:r>
              <a:rPr lang="ru-RU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инпросвещения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России от 20 мая 2020 года №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254)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е содержит учебников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, прошедших экспертизу на соответствие требованиям обновленных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ГОС 2021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62" y="4468318"/>
            <a:ext cx="3407839" cy="202494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762" y="1845156"/>
            <a:ext cx="3353764" cy="3018755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069" y="2952437"/>
            <a:ext cx="3285291" cy="331459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6579908" y="2077912"/>
            <a:ext cx="5373280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</a:rPr>
              <a:t>В период перехода </a:t>
            </a:r>
            <a:r>
              <a:rPr lang="ru-RU" dirty="0">
                <a:solidFill>
                  <a:srgbClr val="000000"/>
                </a:solidFill>
              </a:rPr>
              <a:t>на обновленные ФГОС </a:t>
            </a:r>
            <a:r>
              <a:rPr lang="ru-RU" dirty="0" smtClean="0">
                <a:solidFill>
                  <a:srgbClr val="000000"/>
                </a:solidFill>
              </a:rPr>
              <a:t>2021* </a:t>
            </a:r>
          </a:p>
          <a:p>
            <a:endParaRPr lang="ru-RU" dirty="0" smtClean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могут </a:t>
            </a:r>
            <a:r>
              <a:rPr lang="ru-RU" dirty="0">
                <a:solidFill>
                  <a:srgbClr val="000000"/>
                </a:solidFill>
              </a:rPr>
              <a:t>быть использованы </a:t>
            </a:r>
            <a:r>
              <a:rPr lang="ru-RU" b="1" u="sng" dirty="0">
                <a:solidFill>
                  <a:srgbClr val="000000"/>
                </a:solidFill>
              </a:rPr>
              <a:t>любые учебно-методические комплекты</a:t>
            </a:r>
            <a:r>
              <a:rPr lang="ru-RU" b="1" dirty="0">
                <a:solidFill>
                  <a:srgbClr val="000000"/>
                </a:solidFill>
              </a:rPr>
              <a:t>, включенные в федеральный перечень учебников</a:t>
            </a:r>
            <a:r>
              <a:rPr lang="ru-RU" dirty="0">
                <a:solidFill>
                  <a:srgbClr val="000000"/>
                </a:solidFill>
              </a:rPr>
              <a:t>. </a:t>
            </a:r>
            <a:endParaRPr lang="ru-RU" dirty="0" smtClean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особое </a:t>
            </a:r>
            <a:r>
              <a:rPr lang="ru-RU" dirty="0">
                <a:solidFill>
                  <a:srgbClr val="000000"/>
                </a:solidFill>
              </a:rPr>
              <a:t>внимание должно быть уделено изменению методики преподавания учебных предметов </a:t>
            </a:r>
            <a:r>
              <a:rPr lang="ru-RU" b="1" u="sng" dirty="0">
                <a:solidFill>
                  <a:srgbClr val="000000"/>
                </a:solidFill>
              </a:rPr>
              <a:t>при</a:t>
            </a:r>
            <a:r>
              <a:rPr lang="ru-RU" u="sng" dirty="0">
                <a:solidFill>
                  <a:srgbClr val="000000"/>
                </a:solidFill>
              </a:rPr>
              <a:t> </a:t>
            </a:r>
            <a:r>
              <a:rPr lang="ru-RU" b="1" u="sng" dirty="0"/>
              <a:t>одновременном использовании дополнительных учебных</a:t>
            </a:r>
            <a:r>
              <a:rPr lang="ru-RU" b="1" dirty="0"/>
              <a:t>, дидактических </a:t>
            </a:r>
            <a:r>
              <a:rPr lang="ru-RU" b="1" u="sng" dirty="0"/>
              <a:t>материалов</a:t>
            </a:r>
            <a:r>
              <a:rPr lang="ru-RU" b="1" dirty="0"/>
              <a:t>, ориентированных на формирование предметных, </a:t>
            </a:r>
            <a:r>
              <a:rPr lang="ru-RU" b="1" dirty="0" err="1"/>
              <a:t>метапредметных</a:t>
            </a:r>
            <a:r>
              <a:rPr lang="ru-RU" b="1" dirty="0"/>
              <a:t> и личностных </a:t>
            </a:r>
            <a:r>
              <a:rPr lang="ru-RU" b="1" dirty="0" smtClean="0"/>
              <a:t>результатов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ru-RU" b="1" dirty="0"/>
          </a:p>
          <a:p>
            <a:pPr>
              <a:spcAft>
                <a:spcPts val="1200"/>
              </a:spcAft>
            </a:pPr>
            <a:r>
              <a:rPr lang="ru-RU" sz="1000" dirty="0" smtClean="0"/>
              <a:t>* </a:t>
            </a:r>
            <a:r>
              <a:rPr lang="ru-RU" sz="1000" i="1" dirty="0" smtClean="0"/>
              <a:t>Письмо </a:t>
            </a:r>
            <a:r>
              <a:rPr lang="ru-RU" sz="1000" i="1" dirty="0" err="1" smtClean="0"/>
              <a:t>Минпросвещения</a:t>
            </a:r>
            <a:r>
              <a:rPr lang="ru-RU" sz="1000" i="1" dirty="0" smtClean="0"/>
              <a:t> России от 11.11.2021 № 03-1899 «Об обеспечении учебными изданиями (учебниками и учебными пособиями) обучающихся в 2022/23 учебном году</a:t>
            </a:r>
            <a:endParaRPr lang="ru-RU" sz="1000" i="1" dirty="0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881507" y="130382"/>
            <a:ext cx="813156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акие учебники использовать в переходный период?</a:t>
            </a:r>
            <a:endParaRPr kumimoji="0" lang="ru-RU" sz="2133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0" y="797178"/>
            <a:ext cx="1753973" cy="900496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975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066439" y="115318"/>
            <a:ext cx="9637881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егулирование обеспечения учебниками и учебными пособиями библиотечных фондов образовательных организаций </a:t>
            </a:r>
            <a:r>
              <a:rPr lang="ru-RU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73-ФЗ </a:t>
            </a: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Об образовании в РФ»</a:t>
            </a: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auto">
          <a:xfrm>
            <a:off x="3005370" y="3262485"/>
            <a:ext cx="8275207" cy="972715"/>
          </a:xfrm>
          <a:custGeom>
            <a:avLst/>
            <a:gdLst>
              <a:gd name="T0" fmla="*/ 20653 w 20796"/>
              <a:gd name="T1" fmla="*/ 2546 h 2689"/>
              <a:gd name="T2" fmla="*/ 20653 w 20796"/>
              <a:gd name="T3" fmla="*/ 143 h 2689"/>
              <a:gd name="T4" fmla="*/ 144 w 20796"/>
              <a:gd name="T5" fmla="*/ 143 h 2689"/>
              <a:gd name="T6" fmla="*/ 144 w 20796"/>
              <a:gd name="T7" fmla="*/ 2546 h 2689"/>
              <a:gd name="T8" fmla="*/ 20653 w 20796"/>
              <a:gd name="T9" fmla="*/ 2546 h 2689"/>
              <a:gd name="T10" fmla="*/ 20796 w 20796"/>
              <a:gd name="T11" fmla="*/ 72 h 2689"/>
              <a:gd name="T12" fmla="*/ 20796 w 20796"/>
              <a:gd name="T13" fmla="*/ 2617 h 2689"/>
              <a:gd name="T14" fmla="*/ 20796 w 20796"/>
              <a:gd name="T15" fmla="*/ 2689 h 2689"/>
              <a:gd name="T16" fmla="*/ 20725 w 20796"/>
              <a:gd name="T17" fmla="*/ 2689 h 2689"/>
              <a:gd name="T18" fmla="*/ 72 w 20796"/>
              <a:gd name="T19" fmla="*/ 2689 h 2689"/>
              <a:gd name="T20" fmla="*/ 0 w 20796"/>
              <a:gd name="T21" fmla="*/ 2689 h 2689"/>
              <a:gd name="T22" fmla="*/ 0 w 20796"/>
              <a:gd name="T23" fmla="*/ 2617 h 2689"/>
              <a:gd name="T24" fmla="*/ 0 w 20796"/>
              <a:gd name="T25" fmla="*/ 72 h 2689"/>
              <a:gd name="T26" fmla="*/ 0 w 20796"/>
              <a:gd name="T27" fmla="*/ 0 h 2689"/>
              <a:gd name="T28" fmla="*/ 72 w 20796"/>
              <a:gd name="T29" fmla="*/ 0 h 2689"/>
              <a:gd name="T30" fmla="*/ 20725 w 20796"/>
              <a:gd name="T31" fmla="*/ 0 h 2689"/>
              <a:gd name="T32" fmla="*/ 20796 w 20796"/>
              <a:gd name="T33" fmla="*/ 0 h 2689"/>
              <a:gd name="T34" fmla="*/ 20796 w 20796"/>
              <a:gd name="T35" fmla="*/ 72 h 2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796" h="2689">
                <a:moveTo>
                  <a:pt x="20653" y="2546"/>
                </a:moveTo>
                <a:lnTo>
                  <a:pt x="20653" y="143"/>
                </a:lnTo>
                <a:lnTo>
                  <a:pt x="144" y="143"/>
                </a:lnTo>
                <a:lnTo>
                  <a:pt x="144" y="2546"/>
                </a:lnTo>
                <a:lnTo>
                  <a:pt x="20653" y="2546"/>
                </a:lnTo>
                <a:close/>
                <a:moveTo>
                  <a:pt x="20796" y="72"/>
                </a:moveTo>
                <a:lnTo>
                  <a:pt x="20796" y="2617"/>
                </a:lnTo>
                <a:lnTo>
                  <a:pt x="20796" y="2689"/>
                </a:lnTo>
                <a:lnTo>
                  <a:pt x="20725" y="2689"/>
                </a:lnTo>
                <a:lnTo>
                  <a:pt x="72" y="2689"/>
                </a:lnTo>
                <a:lnTo>
                  <a:pt x="0" y="2689"/>
                </a:lnTo>
                <a:lnTo>
                  <a:pt x="0" y="2617"/>
                </a:lnTo>
                <a:lnTo>
                  <a:pt x="0" y="72"/>
                </a:lnTo>
                <a:lnTo>
                  <a:pt x="0" y="0"/>
                </a:lnTo>
                <a:lnTo>
                  <a:pt x="72" y="0"/>
                </a:lnTo>
                <a:lnTo>
                  <a:pt x="20725" y="0"/>
                </a:lnTo>
                <a:lnTo>
                  <a:pt x="20796" y="0"/>
                </a:lnTo>
                <a:lnTo>
                  <a:pt x="20796" y="72"/>
                </a:lnTo>
                <a:close/>
              </a:path>
            </a:pathLst>
          </a:cu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765755" y="3287625"/>
            <a:ext cx="2065883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2" name="Freeform 8"/>
          <p:cNvSpPr>
            <a:spLocks noEditPoints="1"/>
          </p:cNvSpPr>
          <p:nvPr/>
        </p:nvSpPr>
        <p:spPr bwMode="auto">
          <a:xfrm>
            <a:off x="3005370" y="5333615"/>
            <a:ext cx="8275207" cy="972715"/>
          </a:xfrm>
          <a:custGeom>
            <a:avLst/>
            <a:gdLst>
              <a:gd name="T0" fmla="*/ 20796 w 20796"/>
              <a:gd name="T1" fmla="*/ 72 h 2689"/>
              <a:gd name="T2" fmla="*/ 20796 w 20796"/>
              <a:gd name="T3" fmla="*/ 2617 h 2689"/>
              <a:gd name="T4" fmla="*/ 20796 w 20796"/>
              <a:gd name="T5" fmla="*/ 2689 h 2689"/>
              <a:gd name="T6" fmla="*/ 20725 w 20796"/>
              <a:gd name="T7" fmla="*/ 2689 h 2689"/>
              <a:gd name="T8" fmla="*/ 72 w 20796"/>
              <a:gd name="T9" fmla="*/ 2689 h 2689"/>
              <a:gd name="T10" fmla="*/ 0 w 20796"/>
              <a:gd name="T11" fmla="*/ 2689 h 2689"/>
              <a:gd name="T12" fmla="*/ 0 w 20796"/>
              <a:gd name="T13" fmla="*/ 2617 h 2689"/>
              <a:gd name="T14" fmla="*/ 0 w 20796"/>
              <a:gd name="T15" fmla="*/ 72 h 2689"/>
              <a:gd name="T16" fmla="*/ 0 w 20796"/>
              <a:gd name="T17" fmla="*/ 0 h 2689"/>
              <a:gd name="T18" fmla="*/ 72 w 20796"/>
              <a:gd name="T19" fmla="*/ 0 h 2689"/>
              <a:gd name="T20" fmla="*/ 20725 w 20796"/>
              <a:gd name="T21" fmla="*/ 0 h 2689"/>
              <a:gd name="T22" fmla="*/ 20796 w 20796"/>
              <a:gd name="T23" fmla="*/ 0 h 2689"/>
              <a:gd name="T24" fmla="*/ 20796 w 20796"/>
              <a:gd name="T25" fmla="*/ 72 h 2689"/>
              <a:gd name="T26" fmla="*/ 20653 w 20796"/>
              <a:gd name="T27" fmla="*/ 2546 h 2689"/>
              <a:gd name="T28" fmla="*/ 20653 w 20796"/>
              <a:gd name="T29" fmla="*/ 143 h 2689"/>
              <a:gd name="T30" fmla="*/ 144 w 20796"/>
              <a:gd name="T31" fmla="*/ 143 h 2689"/>
              <a:gd name="T32" fmla="*/ 144 w 20796"/>
              <a:gd name="T33" fmla="*/ 2546 h 2689"/>
              <a:gd name="T34" fmla="*/ 20653 w 20796"/>
              <a:gd name="T35" fmla="*/ 2546 h 2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796" h="2689">
                <a:moveTo>
                  <a:pt x="20796" y="72"/>
                </a:moveTo>
                <a:lnTo>
                  <a:pt x="20796" y="2617"/>
                </a:lnTo>
                <a:lnTo>
                  <a:pt x="20796" y="2689"/>
                </a:lnTo>
                <a:lnTo>
                  <a:pt x="20725" y="2689"/>
                </a:lnTo>
                <a:lnTo>
                  <a:pt x="72" y="2689"/>
                </a:lnTo>
                <a:lnTo>
                  <a:pt x="0" y="2689"/>
                </a:lnTo>
                <a:lnTo>
                  <a:pt x="0" y="2617"/>
                </a:lnTo>
                <a:lnTo>
                  <a:pt x="0" y="72"/>
                </a:lnTo>
                <a:lnTo>
                  <a:pt x="0" y="0"/>
                </a:lnTo>
                <a:lnTo>
                  <a:pt x="72" y="0"/>
                </a:lnTo>
                <a:lnTo>
                  <a:pt x="20725" y="0"/>
                </a:lnTo>
                <a:lnTo>
                  <a:pt x="20796" y="0"/>
                </a:lnTo>
                <a:lnTo>
                  <a:pt x="20796" y="72"/>
                </a:lnTo>
                <a:close/>
                <a:moveTo>
                  <a:pt x="20653" y="2546"/>
                </a:moveTo>
                <a:lnTo>
                  <a:pt x="20653" y="143"/>
                </a:lnTo>
                <a:lnTo>
                  <a:pt x="144" y="143"/>
                </a:lnTo>
                <a:lnTo>
                  <a:pt x="144" y="2546"/>
                </a:lnTo>
                <a:lnTo>
                  <a:pt x="20653" y="2546"/>
                </a:lnTo>
                <a:close/>
              </a:path>
            </a:pathLst>
          </a:cu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765755" y="5360689"/>
            <a:ext cx="2065883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5" name="Freeform 11"/>
          <p:cNvSpPr>
            <a:spLocks noEditPoints="1"/>
          </p:cNvSpPr>
          <p:nvPr/>
        </p:nvSpPr>
        <p:spPr bwMode="auto">
          <a:xfrm>
            <a:off x="3005370" y="2225953"/>
            <a:ext cx="8275207" cy="972715"/>
          </a:xfrm>
          <a:custGeom>
            <a:avLst/>
            <a:gdLst>
              <a:gd name="T0" fmla="*/ 20653 w 20796"/>
              <a:gd name="T1" fmla="*/ 2546 h 2689"/>
              <a:gd name="T2" fmla="*/ 20653 w 20796"/>
              <a:gd name="T3" fmla="*/ 143 h 2689"/>
              <a:gd name="T4" fmla="*/ 144 w 20796"/>
              <a:gd name="T5" fmla="*/ 143 h 2689"/>
              <a:gd name="T6" fmla="*/ 144 w 20796"/>
              <a:gd name="T7" fmla="*/ 2546 h 2689"/>
              <a:gd name="T8" fmla="*/ 20653 w 20796"/>
              <a:gd name="T9" fmla="*/ 2546 h 2689"/>
              <a:gd name="T10" fmla="*/ 20796 w 20796"/>
              <a:gd name="T11" fmla="*/ 72 h 2689"/>
              <a:gd name="T12" fmla="*/ 20796 w 20796"/>
              <a:gd name="T13" fmla="*/ 2617 h 2689"/>
              <a:gd name="T14" fmla="*/ 20796 w 20796"/>
              <a:gd name="T15" fmla="*/ 2689 h 2689"/>
              <a:gd name="T16" fmla="*/ 20725 w 20796"/>
              <a:gd name="T17" fmla="*/ 2689 h 2689"/>
              <a:gd name="T18" fmla="*/ 72 w 20796"/>
              <a:gd name="T19" fmla="*/ 2689 h 2689"/>
              <a:gd name="T20" fmla="*/ 0 w 20796"/>
              <a:gd name="T21" fmla="*/ 2689 h 2689"/>
              <a:gd name="T22" fmla="*/ 0 w 20796"/>
              <a:gd name="T23" fmla="*/ 2617 h 2689"/>
              <a:gd name="T24" fmla="*/ 0 w 20796"/>
              <a:gd name="T25" fmla="*/ 72 h 2689"/>
              <a:gd name="T26" fmla="*/ 0 w 20796"/>
              <a:gd name="T27" fmla="*/ 0 h 2689"/>
              <a:gd name="T28" fmla="*/ 72 w 20796"/>
              <a:gd name="T29" fmla="*/ 0 h 2689"/>
              <a:gd name="T30" fmla="*/ 20725 w 20796"/>
              <a:gd name="T31" fmla="*/ 0 h 2689"/>
              <a:gd name="T32" fmla="*/ 20796 w 20796"/>
              <a:gd name="T33" fmla="*/ 0 h 2689"/>
              <a:gd name="T34" fmla="*/ 20796 w 20796"/>
              <a:gd name="T35" fmla="*/ 72 h 2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796" h="2689">
                <a:moveTo>
                  <a:pt x="20653" y="2546"/>
                </a:moveTo>
                <a:lnTo>
                  <a:pt x="20653" y="143"/>
                </a:lnTo>
                <a:lnTo>
                  <a:pt x="144" y="143"/>
                </a:lnTo>
                <a:lnTo>
                  <a:pt x="144" y="2546"/>
                </a:lnTo>
                <a:lnTo>
                  <a:pt x="20653" y="2546"/>
                </a:lnTo>
                <a:close/>
                <a:moveTo>
                  <a:pt x="20796" y="72"/>
                </a:moveTo>
                <a:lnTo>
                  <a:pt x="20796" y="2617"/>
                </a:lnTo>
                <a:lnTo>
                  <a:pt x="20796" y="2689"/>
                </a:lnTo>
                <a:lnTo>
                  <a:pt x="20725" y="2689"/>
                </a:lnTo>
                <a:lnTo>
                  <a:pt x="72" y="2689"/>
                </a:lnTo>
                <a:lnTo>
                  <a:pt x="0" y="2689"/>
                </a:lnTo>
                <a:lnTo>
                  <a:pt x="0" y="2617"/>
                </a:lnTo>
                <a:lnTo>
                  <a:pt x="0" y="72"/>
                </a:lnTo>
                <a:lnTo>
                  <a:pt x="0" y="0"/>
                </a:lnTo>
                <a:lnTo>
                  <a:pt x="72" y="0"/>
                </a:lnTo>
                <a:lnTo>
                  <a:pt x="20725" y="0"/>
                </a:lnTo>
                <a:lnTo>
                  <a:pt x="20796" y="0"/>
                </a:lnTo>
                <a:lnTo>
                  <a:pt x="20796" y="72"/>
                </a:lnTo>
                <a:close/>
              </a:path>
            </a:pathLst>
          </a:cu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765755" y="2251093"/>
            <a:ext cx="2065883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8" name="Freeform 14"/>
          <p:cNvSpPr>
            <a:spLocks noEditPoints="1"/>
          </p:cNvSpPr>
          <p:nvPr/>
        </p:nvSpPr>
        <p:spPr bwMode="auto">
          <a:xfrm>
            <a:off x="3005370" y="4297083"/>
            <a:ext cx="8275207" cy="972715"/>
          </a:xfrm>
          <a:custGeom>
            <a:avLst/>
            <a:gdLst>
              <a:gd name="T0" fmla="*/ 20796 w 20796"/>
              <a:gd name="T1" fmla="*/ 72 h 2689"/>
              <a:gd name="T2" fmla="*/ 20796 w 20796"/>
              <a:gd name="T3" fmla="*/ 2617 h 2689"/>
              <a:gd name="T4" fmla="*/ 20796 w 20796"/>
              <a:gd name="T5" fmla="*/ 2689 h 2689"/>
              <a:gd name="T6" fmla="*/ 20725 w 20796"/>
              <a:gd name="T7" fmla="*/ 2689 h 2689"/>
              <a:gd name="T8" fmla="*/ 72 w 20796"/>
              <a:gd name="T9" fmla="*/ 2689 h 2689"/>
              <a:gd name="T10" fmla="*/ 0 w 20796"/>
              <a:gd name="T11" fmla="*/ 2689 h 2689"/>
              <a:gd name="T12" fmla="*/ 0 w 20796"/>
              <a:gd name="T13" fmla="*/ 2617 h 2689"/>
              <a:gd name="T14" fmla="*/ 0 w 20796"/>
              <a:gd name="T15" fmla="*/ 72 h 2689"/>
              <a:gd name="T16" fmla="*/ 0 w 20796"/>
              <a:gd name="T17" fmla="*/ 0 h 2689"/>
              <a:gd name="T18" fmla="*/ 72 w 20796"/>
              <a:gd name="T19" fmla="*/ 0 h 2689"/>
              <a:gd name="T20" fmla="*/ 20725 w 20796"/>
              <a:gd name="T21" fmla="*/ 0 h 2689"/>
              <a:gd name="T22" fmla="*/ 20796 w 20796"/>
              <a:gd name="T23" fmla="*/ 0 h 2689"/>
              <a:gd name="T24" fmla="*/ 20796 w 20796"/>
              <a:gd name="T25" fmla="*/ 72 h 2689"/>
              <a:gd name="T26" fmla="*/ 20653 w 20796"/>
              <a:gd name="T27" fmla="*/ 2546 h 2689"/>
              <a:gd name="T28" fmla="*/ 20653 w 20796"/>
              <a:gd name="T29" fmla="*/ 143 h 2689"/>
              <a:gd name="T30" fmla="*/ 144 w 20796"/>
              <a:gd name="T31" fmla="*/ 143 h 2689"/>
              <a:gd name="T32" fmla="*/ 144 w 20796"/>
              <a:gd name="T33" fmla="*/ 2546 h 2689"/>
              <a:gd name="T34" fmla="*/ 20653 w 20796"/>
              <a:gd name="T35" fmla="*/ 2546 h 2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796" h="2689">
                <a:moveTo>
                  <a:pt x="20796" y="72"/>
                </a:moveTo>
                <a:lnTo>
                  <a:pt x="20796" y="2617"/>
                </a:lnTo>
                <a:lnTo>
                  <a:pt x="20796" y="2689"/>
                </a:lnTo>
                <a:lnTo>
                  <a:pt x="20725" y="2689"/>
                </a:lnTo>
                <a:lnTo>
                  <a:pt x="72" y="2689"/>
                </a:lnTo>
                <a:lnTo>
                  <a:pt x="0" y="2689"/>
                </a:lnTo>
                <a:lnTo>
                  <a:pt x="0" y="2617"/>
                </a:lnTo>
                <a:lnTo>
                  <a:pt x="0" y="72"/>
                </a:lnTo>
                <a:lnTo>
                  <a:pt x="0" y="0"/>
                </a:lnTo>
                <a:lnTo>
                  <a:pt x="72" y="0"/>
                </a:lnTo>
                <a:lnTo>
                  <a:pt x="20725" y="0"/>
                </a:lnTo>
                <a:lnTo>
                  <a:pt x="20796" y="0"/>
                </a:lnTo>
                <a:lnTo>
                  <a:pt x="20796" y="72"/>
                </a:lnTo>
                <a:close/>
                <a:moveTo>
                  <a:pt x="20653" y="2546"/>
                </a:moveTo>
                <a:lnTo>
                  <a:pt x="20653" y="143"/>
                </a:lnTo>
                <a:lnTo>
                  <a:pt x="144" y="143"/>
                </a:lnTo>
                <a:lnTo>
                  <a:pt x="144" y="2546"/>
                </a:lnTo>
                <a:lnTo>
                  <a:pt x="20653" y="2546"/>
                </a:lnTo>
                <a:close/>
              </a:path>
            </a:pathLst>
          </a:cu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765755" y="4324157"/>
            <a:ext cx="2065883" cy="9205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2" name="Freeform 17"/>
          <p:cNvSpPr>
            <a:spLocks noEditPoints="1"/>
          </p:cNvSpPr>
          <p:nvPr/>
        </p:nvSpPr>
        <p:spPr bwMode="auto">
          <a:xfrm>
            <a:off x="3005370" y="1189421"/>
            <a:ext cx="8275207" cy="972715"/>
          </a:xfrm>
          <a:custGeom>
            <a:avLst/>
            <a:gdLst>
              <a:gd name="T0" fmla="*/ 20653 w 20796"/>
              <a:gd name="T1" fmla="*/ 2546 h 2689"/>
              <a:gd name="T2" fmla="*/ 20653 w 20796"/>
              <a:gd name="T3" fmla="*/ 143 h 2689"/>
              <a:gd name="T4" fmla="*/ 144 w 20796"/>
              <a:gd name="T5" fmla="*/ 143 h 2689"/>
              <a:gd name="T6" fmla="*/ 144 w 20796"/>
              <a:gd name="T7" fmla="*/ 2546 h 2689"/>
              <a:gd name="T8" fmla="*/ 20653 w 20796"/>
              <a:gd name="T9" fmla="*/ 2546 h 2689"/>
              <a:gd name="T10" fmla="*/ 20796 w 20796"/>
              <a:gd name="T11" fmla="*/ 72 h 2689"/>
              <a:gd name="T12" fmla="*/ 20796 w 20796"/>
              <a:gd name="T13" fmla="*/ 2617 h 2689"/>
              <a:gd name="T14" fmla="*/ 20796 w 20796"/>
              <a:gd name="T15" fmla="*/ 2689 h 2689"/>
              <a:gd name="T16" fmla="*/ 20725 w 20796"/>
              <a:gd name="T17" fmla="*/ 2689 h 2689"/>
              <a:gd name="T18" fmla="*/ 72 w 20796"/>
              <a:gd name="T19" fmla="*/ 2689 h 2689"/>
              <a:gd name="T20" fmla="*/ 0 w 20796"/>
              <a:gd name="T21" fmla="*/ 2689 h 2689"/>
              <a:gd name="T22" fmla="*/ 0 w 20796"/>
              <a:gd name="T23" fmla="*/ 2617 h 2689"/>
              <a:gd name="T24" fmla="*/ 0 w 20796"/>
              <a:gd name="T25" fmla="*/ 72 h 2689"/>
              <a:gd name="T26" fmla="*/ 0 w 20796"/>
              <a:gd name="T27" fmla="*/ 0 h 2689"/>
              <a:gd name="T28" fmla="*/ 72 w 20796"/>
              <a:gd name="T29" fmla="*/ 0 h 2689"/>
              <a:gd name="T30" fmla="*/ 20725 w 20796"/>
              <a:gd name="T31" fmla="*/ 0 h 2689"/>
              <a:gd name="T32" fmla="*/ 20796 w 20796"/>
              <a:gd name="T33" fmla="*/ 0 h 2689"/>
              <a:gd name="T34" fmla="*/ 20796 w 20796"/>
              <a:gd name="T35" fmla="*/ 72 h 2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796" h="2689">
                <a:moveTo>
                  <a:pt x="20653" y="2546"/>
                </a:moveTo>
                <a:lnTo>
                  <a:pt x="20653" y="143"/>
                </a:lnTo>
                <a:lnTo>
                  <a:pt x="144" y="143"/>
                </a:lnTo>
                <a:lnTo>
                  <a:pt x="144" y="2546"/>
                </a:lnTo>
                <a:lnTo>
                  <a:pt x="20653" y="2546"/>
                </a:lnTo>
                <a:close/>
                <a:moveTo>
                  <a:pt x="20796" y="72"/>
                </a:moveTo>
                <a:lnTo>
                  <a:pt x="20796" y="2617"/>
                </a:lnTo>
                <a:lnTo>
                  <a:pt x="20796" y="2689"/>
                </a:lnTo>
                <a:lnTo>
                  <a:pt x="20725" y="2689"/>
                </a:lnTo>
                <a:lnTo>
                  <a:pt x="72" y="2689"/>
                </a:lnTo>
                <a:lnTo>
                  <a:pt x="0" y="2689"/>
                </a:lnTo>
                <a:lnTo>
                  <a:pt x="0" y="2617"/>
                </a:lnTo>
                <a:lnTo>
                  <a:pt x="0" y="72"/>
                </a:lnTo>
                <a:lnTo>
                  <a:pt x="0" y="0"/>
                </a:lnTo>
                <a:lnTo>
                  <a:pt x="72" y="0"/>
                </a:lnTo>
                <a:lnTo>
                  <a:pt x="20725" y="0"/>
                </a:lnTo>
                <a:lnTo>
                  <a:pt x="20796" y="0"/>
                </a:lnTo>
                <a:lnTo>
                  <a:pt x="20796" y="72"/>
                </a:lnTo>
                <a:close/>
              </a:path>
            </a:pathLst>
          </a:cu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765755" y="1214561"/>
            <a:ext cx="2065883" cy="922436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357717" y="1659342"/>
            <a:ext cx="290075" cy="1005591"/>
          </a:xfrm>
          <a:custGeom>
            <a:avLst/>
            <a:gdLst>
              <a:gd name="T0" fmla="*/ 96 w 804"/>
              <a:gd name="T1" fmla="*/ 95 h 2780"/>
              <a:gd name="T2" fmla="*/ 804 w 804"/>
              <a:gd name="T3" fmla="*/ 95 h 2780"/>
              <a:gd name="T4" fmla="*/ 804 w 804"/>
              <a:gd name="T5" fmla="*/ 0 h 2780"/>
              <a:gd name="T6" fmla="*/ 48 w 804"/>
              <a:gd name="T7" fmla="*/ 0 h 2780"/>
              <a:gd name="T8" fmla="*/ 0 w 804"/>
              <a:gd name="T9" fmla="*/ 0 h 2780"/>
              <a:gd name="T10" fmla="*/ 0 w 804"/>
              <a:gd name="T11" fmla="*/ 48 h 2780"/>
              <a:gd name="T12" fmla="*/ 0 w 804"/>
              <a:gd name="T13" fmla="*/ 2530 h 2780"/>
              <a:gd name="T14" fmla="*/ 0 w 804"/>
              <a:gd name="T15" fmla="*/ 2578 h 2780"/>
              <a:gd name="T16" fmla="*/ 48 w 804"/>
              <a:gd name="T17" fmla="*/ 2578 h 2780"/>
              <a:gd name="T18" fmla="*/ 350 w 804"/>
              <a:gd name="T19" fmla="*/ 2578 h 2780"/>
              <a:gd name="T20" fmla="*/ 350 w 804"/>
              <a:gd name="T21" fmla="*/ 2780 h 2780"/>
              <a:gd name="T22" fmla="*/ 804 w 804"/>
              <a:gd name="T23" fmla="*/ 2530 h 2780"/>
              <a:gd name="T24" fmla="*/ 350 w 804"/>
              <a:gd name="T25" fmla="*/ 2280 h 2780"/>
              <a:gd name="T26" fmla="*/ 350 w 804"/>
              <a:gd name="T27" fmla="*/ 2482 h 2780"/>
              <a:gd name="T28" fmla="*/ 96 w 804"/>
              <a:gd name="T29" fmla="*/ 2482 h 2780"/>
              <a:gd name="T30" fmla="*/ 96 w 804"/>
              <a:gd name="T31" fmla="*/ 95 h 2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4" h="2780">
                <a:moveTo>
                  <a:pt x="96" y="95"/>
                </a:moveTo>
                <a:lnTo>
                  <a:pt x="804" y="95"/>
                </a:lnTo>
                <a:lnTo>
                  <a:pt x="804" y="0"/>
                </a:lnTo>
                <a:lnTo>
                  <a:pt x="48" y="0"/>
                </a:lnTo>
                <a:lnTo>
                  <a:pt x="0" y="0"/>
                </a:lnTo>
                <a:lnTo>
                  <a:pt x="0" y="48"/>
                </a:lnTo>
                <a:lnTo>
                  <a:pt x="0" y="2530"/>
                </a:lnTo>
                <a:lnTo>
                  <a:pt x="0" y="2578"/>
                </a:lnTo>
                <a:lnTo>
                  <a:pt x="48" y="2578"/>
                </a:lnTo>
                <a:lnTo>
                  <a:pt x="350" y="2578"/>
                </a:lnTo>
                <a:lnTo>
                  <a:pt x="350" y="2780"/>
                </a:lnTo>
                <a:lnTo>
                  <a:pt x="804" y="2530"/>
                </a:lnTo>
                <a:lnTo>
                  <a:pt x="350" y="2280"/>
                </a:lnTo>
                <a:lnTo>
                  <a:pt x="350" y="2482"/>
                </a:lnTo>
                <a:lnTo>
                  <a:pt x="96" y="2482"/>
                </a:lnTo>
                <a:lnTo>
                  <a:pt x="96" y="95"/>
                </a:lnTo>
                <a:close/>
              </a:path>
            </a:pathLst>
          </a:custGeom>
          <a:solidFill>
            <a:srgbClr val="7087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6" name="Freeform 21"/>
          <p:cNvSpPr>
            <a:spLocks/>
          </p:cNvSpPr>
          <p:nvPr/>
        </p:nvSpPr>
        <p:spPr bwMode="auto">
          <a:xfrm>
            <a:off x="357717" y="2740353"/>
            <a:ext cx="290075" cy="1005591"/>
          </a:xfrm>
          <a:custGeom>
            <a:avLst/>
            <a:gdLst>
              <a:gd name="T0" fmla="*/ 96 w 804"/>
              <a:gd name="T1" fmla="*/ 96 h 2780"/>
              <a:gd name="T2" fmla="*/ 804 w 804"/>
              <a:gd name="T3" fmla="*/ 96 h 2780"/>
              <a:gd name="T4" fmla="*/ 804 w 804"/>
              <a:gd name="T5" fmla="*/ 0 h 2780"/>
              <a:gd name="T6" fmla="*/ 48 w 804"/>
              <a:gd name="T7" fmla="*/ 0 h 2780"/>
              <a:gd name="T8" fmla="*/ 0 w 804"/>
              <a:gd name="T9" fmla="*/ 0 h 2780"/>
              <a:gd name="T10" fmla="*/ 0 w 804"/>
              <a:gd name="T11" fmla="*/ 48 h 2780"/>
              <a:gd name="T12" fmla="*/ 0 w 804"/>
              <a:gd name="T13" fmla="*/ 2530 h 2780"/>
              <a:gd name="T14" fmla="*/ 0 w 804"/>
              <a:gd name="T15" fmla="*/ 2578 h 2780"/>
              <a:gd name="T16" fmla="*/ 48 w 804"/>
              <a:gd name="T17" fmla="*/ 2578 h 2780"/>
              <a:gd name="T18" fmla="*/ 350 w 804"/>
              <a:gd name="T19" fmla="*/ 2578 h 2780"/>
              <a:gd name="T20" fmla="*/ 350 w 804"/>
              <a:gd name="T21" fmla="*/ 2780 h 2780"/>
              <a:gd name="T22" fmla="*/ 804 w 804"/>
              <a:gd name="T23" fmla="*/ 2530 h 2780"/>
              <a:gd name="T24" fmla="*/ 350 w 804"/>
              <a:gd name="T25" fmla="*/ 2280 h 2780"/>
              <a:gd name="T26" fmla="*/ 350 w 804"/>
              <a:gd name="T27" fmla="*/ 2482 h 2780"/>
              <a:gd name="T28" fmla="*/ 96 w 804"/>
              <a:gd name="T29" fmla="*/ 2482 h 2780"/>
              <a:gd name="T30" fmla="*/ 96 w 804"/>
              <a:gd name="T31" fmla="*/ 96 h 2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4" h="2780">
                <a:moveTo>
                  <a:pt x="96" y="96"/>
                </a:moveTo>
                <a:lnTo>
                  <a:pt x="804" y="96"/>
                </a:lnTo>
                <a:lnTo>
                  <a:pt x="804" y="0"/>
                </a:lnTo>
                <a:lnTo>
                  <a:pt x="48" y="0"/>
                </a:lnTo>
                <a:lnTo>
                  <a:pt x="0" y="0"/>
                </a:lnTo>
                <a:lnTo>
                  <a:pt x="0" y="48"/>
                </a:lnTo>
                <a:lnTo>
                  <a:pt x="0" y="2530"/>
                </a:lnTo>
                <a:lnTo>
                  <a:pt x="0" y="2578"/>
                </a:lnTo>
                <a:lnTo>
                  <a:pt x="48" y="2578"/>
                </a:lnTo>
                <a:lnTo>
                  <a:pt x="350" y="2578"/>
                </a:lnTo>
                <a:lnTo>
                  <a:pt x="350" y="2780"/>
                </a:lnTo>
                <a:lnTo>
                  <a:pt x="804" y="2530"/>
                </a:lnTo>
                <a:lnTo>
                  <a:pt x="350" y="2280"/>
                </a:lnTo>
                <a:lnTo>
                  <a:pt x="350" y="2482"/>
                </a:lnTo>
                <a:lnTo>
                  <a:pt x="96" y="2482"/>
                </a:lnTo>
                <a:lnTo>
                  <a:pt x="96" y="96"/>
                </a:lnTo>
                <a:close/>
              </a:path>
            </a:pathLst>
          </a:custGeom>
          <a:solidFill>
            <a:srgbClr val="7087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7" name="Freeform 22"/>
          <p:cNvSpPr>
            <a:spLocks/>
          </p:cNvSpPr>
          <p:nvPr/>
        </p:nvSpPr>
        <p:spPr bwMode="auto">
          <a:xfrm>
            <a:off x="357717" y="3823295"/>
            <a:ext cx="290075" cy="1005591"/>
          </a:xfrm>
          <a:custGeom>
            <a:avLst/>
            <a:gdLst>
              <a:gd name="T0" fmla="*/ 96 w 804"/>
              <a:gd name="T1" fmla="*/ 96 h 2780"/>
              <a:gd name="T2" fmla="*/ 804 w 804"/>
              <a:gd name="T3" fmla="*/ 96 h 2780"/>
              <a:gd name="T4" fmla="*/ 804 w 804"/>
              <a:gd name="T5" fmla="*/ 0 h 2780"/>
              <a:gd name="T6" fmla="*/ 48 w 804"/>
              <a:gd name="T7" fmla="*/ 0 h 2780"/>
              <a:gd name="T8" fmla="*/ 0 w 804"/>
              <a:gd name="T9" fmla="*/ 0 h 2780"/>
              <a:gd name="T10" fmla="*/ 0 w 804"/>
              <a:gd name="T11" fmla="*/ 48 h 2780"/>
              <a:gd name="T12" fmla="*/ 0 w 804"/>
              <a:gd name="T13" fmla="*/ 2530 h 2780"/>
              <a:gd name="T14" fmla="*/ 0 w 804"/>
              <a:gd name="T15" fmla="*/ 2578 h 2780"/>
              <a:gd name="T16" fmla="*/ 48 w 804"/>
              <a:gd name="T17" fmla="*/ 2578 h 2780"/>
              <a:gd name="T18" fmla="*/ 350 w 804"/>
              <a:gd name="T19" fmla="*/ 2578 h 2780"/>
              <a:gd name="T20" fmla="*/ 350 w 804"/>
              <a:gd name="T21" fmla="*/ 2780 h 2780"/>
              <a:gd name="T22" fmla="*/ 804 w 804"/>
              <a:gd name="T23" fmla="*/ 2530 h 2780"/>
              <a:gd name="T24" fmla="*/ 350 w 804"/>
              <a:gd name="T25" fmla="*/ 2280 h 2780"/>
              <a:gd name="T26" fmla="*/ 350 w 804"/>
              <a:gd name="T27" fmla="*/ 2482 h 2780"/>
              <a:gd name="T28" fmla="*/ 96 w 804"/>
              <a:gd name="T29" fmla="*/ 2482 h 2780"/>
              <a:gd name="T30" fmla="*/ 96 w 804"/>
              <a:gd name="T31" fmla="*/ 96 h 2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4" h="2780">
                <a:moveTo>
                  <a:pt x="96" y="96"/>
                </a:moveTo>
                <a:lnTo>
                  <a:pt x="804" y="96"/>
                </a:lnTo>
                <a:lnTo>
                  <a:pt x="804" y="0"/>
                </a:lnTo>
                <a:lnTo>
                  <a:pt x="48" y="0"/>
                </a:lnTo>
                <a:lnTo>
                  <a:pt x="0" y="0"/>
                </a:lnTo>
                <a:lnTo>
                  <a:pt x="0" y="48"/>
                </a:lnTo>
                <a:lnTo>
                  <a:pt x="0" y="2530"/>
                </a:lnTo>
                <a:lnTo>
                  <a:pt x="0" y="2578"/>
                </a:lnTo>
                <a:lnTo>
                  <a:pt x="48" y="2578"/>
                </a:lnTo>
                <a:lnTo>
                  <a:pt x="350" y="2578"/>
                </a:lnTo>
                <a:lnTo>
                  <a:pt x="350" y="2780"/>
                </a:lnTo>
                <a:lnTo>
                  <a:pt x="804" y="2530"/>
                </a:lnTo>
                <a:lnTo>
                  <a:pt x="350" y="2280"/>
                </a:lnTo>
                <a:lnTo>
                  <a:pt x="350" y="2482"/>
                </a:lnTo>
                <a:lnTo>
                  <a:pt x="96" y="2482"/>
                </a:lnTo>
                <a:lnTo>
                  <a:pt x="96" y="96"/>
                </a:lnTo>
                <a:close/>
              </a:path>
            </a:pathLst>
          </a:custGeom>
          <a:solidFill>
            <a:srgbClr val="7087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28" name="Freeform 23"/>
          <p:cNvSpPr>
            <a:spLocks/>
          </p:cNvSpPr>
          <p:nvPr/>
        </p:nvSpPr>
        <p:spPr bwMode="auto">
          <a:xfrm>
            <a:off x="357717" y="4904305"/>
            <a:ext cx="290075" cy="1005591"/>
          </a:xfrm>
          <a:custGeom>
            <a:avLst/>
            <a:gdLst>
              <a:gd name="T0" fmla="*/ 96 w 804"/>
              <a:gd name="T1" fmla="*/ 96 h 2780"/>
              <a:gd name="T2" fmla="*/ 804 w 804"/>
              <a:gd name="T3" fmla="*/ 96 h 2780"/>
              <a:gd name="T4" fmla="*/ 804 w 804"/>
              <a:gd name="T5" fmla="*/ 0 h 2780"/>
              <a:gd name="T6" fmla="*/ 48 w 804"/>
              <a:gd name="T7" fmla="*/ 0 h 2780"/>
              <a:gd name="T8" fmla="*/ 0 w 804"/>
              <a:gd name="T9" fmla="*/ 0 h 2780"/>
              <a:gd name="T10" fmla="*/ 0 w 804"/>
              <a:gd name="T11" fmla="*/ 48 h 2780"/>
              <a:gd name="T12" fmla="*/ 0 w 804"/>
              <a:gd name="T13" fmla="*/ 2530 h 2780"/>
              <a:gd name="T14" fmla="*/ 0 w 804"/>
              <a:gd name="T15" fmla="*/ 2578 h 2780"/>
              <a:gd name="T16" fmla="*/ 48 w 804"/>
              <a:gd name="T17" fmla="*/ 2578 h 2780"/>
              <a:gd name="T18" fmla="*/ 350 w 804"/>
              <a:gd name="T19" fmla="*/ 2578 h 2780"/>
              <a:gd name="T20" fmla="*/ 350 w 804"/>
              <a:gd name="T21" fmla="*/ 2780 h 2780"/>
              <a:gd name="T22" fmla="*/ 804 w 804"/>
              <a:gd name="T23" fmla="*/ 2530 h 2780"/>
              <a:gd name="T24" fmla="*/ 350 w 804"/>
              <a:gd name="T25" fmla="*/ 2281 h 2780"/>
              <a:gd name="T26" fmla="*/ 350 w 804"/>
              <a:gd name="T27" fmla="*/ 2483 h 2780"/>
              <a:gd name="T28" fmla="*/ 96 w 804"/>
              <a:gd name="T29" fmla="*/ 2483 h 2780"/>
              <a:gd name="T30" fmla="*/ 96 w 804"/>
              <a:gd name="T31" fmla="*/ 96 h 2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04" h="2780">
                <a:moveTo>
                  <a:pt x="96" y="96"/>
                </a:moveTo>
                <a:lnTo>
                  <a:pt x="804" y="96"/>
                </a:lnTo>
                <a:lnTo>
                  <a:pt x="804" y="0"/>
                </a:lnTo>
                <a:lnTo>
                  <a:pt x="48" y="0"/>
                </a:lnTo>
                <a:lnTo>
                  <a:pt x="0" y="0"/>
                </a:lnTo>
                <a:lnTo>
                  <a:pt x="0" y="48"/>
                </a:lnTo>
                <a:lnTo>
                  <a:pt x="0" y="2530"/>
                </a:lnTo>
                <a:lnTo>
                  <a:pt x="0" y="2578"/>
                </a:lnTo>
                <a:lnTo>
                  <a:pt x="48" y="2578"/>
                </a:lnTo>
                <a:lnTo>
                  <a:pt x="350" y="2578"/>
                </a:lnTo>
                <a:lnTo>
                  <a:pt x="350" y="2780"/>
                </a:lnTo>
                <a:lnTo>
                  <a:pt x="804" y="2530"/>
                </a:lnTo>
                <a:lnTo>
                  <a:pt x="350" y="2281"/>
                </a:lnTo>
                <a:lnTo>
                  <a:pt x="350" y="2483"/>
                </a:lnTo>
                <a:lnTo>
                  <a:pt x="96" y="2483"/>
                </a:lnTo>
                <a:lnTo>
                  <a:pt x="96" y="96"/>
                </a:lnTo>
                <a:close/>
              </a:path>
            </a:pathLst>
          </a:custGeom>
          <a:solidFill>
            <a:srgbClr val="7087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1" name="object 3"/>
          <p:cNvSpPr txBox="1"/>
          <p:nvPr/>
        </p:nvSpPr>
        <p:spPr>
          <a:xfrm>
            <a:off x="3101379" y="1190080"/>
            <a:ext cx="8083187" cy="972056"/>
          </a:xfrm>
          <a:prstGeom prst="rect">
            <a:avLst/>
          </a:prstGeom>
        </p:spPr>
        <p:txBody>
          <a:bodyPr vert="horz" wrap="square" lIns="96000" tIns="0" rIns="0" bIns="0" rtlCol="0" anchor="ctr" anchorCtr="0">
            <a:noAutofit/>
          </a:bodyPr>
          <a:lstStyle/>
          <a:p>
            <a:pPr marL="12700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т. 18, п.1 …Библиотечный фонд должен быть укомплектован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ечатными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и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/или электронными учебными издания (включая учебники и учебные пособия), методическими и периодическими изданиями  по всем входящим  в  реализуемые основные образовательные программы учебным предметам,  курсам, дисциплинам (модулям)</a:t>
            </a:r>
          </a:p>
        </p:txBody>
      </p:sp>
      <p:sp>
        <p:nvSpPr>
          <p:cNvPr id="72" name="object 10"/>
          <p:cNvSpPr txBox="1"/>
          <p:nvPr/>
        </p:nvSpPr>
        <p:spPr>
          <a:xfrm>
            <a:off x="3101379" y="2253995"/>
            <a:ext cx="8083187" cy="972715"/>
          </a:xfrm>
          <a:prstGeom prst="rect">
            <a:avLst/>
          </a:prstGeom>
        </p:spPr>
        <p:txBody>
          <a:bodyPr vert="horz" wrap="square" lIns="96000" tIns="0" rIns="0" bIns="0" rtlCol="0" anchor="ctr" anchorCtr="0">
            <a:noAutofit/>
          </a:bodyPr>
          <a:lstStyle/>
          <a:p>
            <a:pPr marL="12700" marR="5080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т. 18, п. 4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Организации,</a:t>
            </a:r>
            <a:r>
              <a:rPr sz="12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осуществляющие образовательную деятельность по  имеющим государственную аккредитацию образовательным программам …  общего образования, для использования при реализации указанных  образовательных программ</a:t>
            </a:r>
            <a:r>
              <a:rPr sz="12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выбирают:</a:t>
            </a:r>
          </a:p>
          <a:p>
            <a:pPr marL="160016" indent="-147951">
              <a:lnSpc>
                <a:spcPct val="80000"/>
              </a:lnSpc>
              <a:buAutoNum type="arabicParenR"/>
              <a:tabLst>
                <a:tab pos="160651" algn="l"/>
              </a:tabLst>
            </a:pP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учебники</a:t>
            </a:r>
            <a:r>
              <a:rPr sz="12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из числа входящих в федеральный перечень учебников…;</a:t>
            </a:r>
          </a:p>
          <a:p>
            <a:pPr marL="160016" indent="-147951">
              <a:lnSpc>
                <a:spcPct val="80000"/>
              </a:lnSpc>
              <a:buAutoNum type="arabicParenR"/>
              <a:tabLst>
                <a:tab pos="160651" algn="l"/>
              </a:tabLst>
            </a:pP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учебные пособия</a:t>
            </a:r>
            <a:r>
              <a:rPr sz="12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выпущенные организациями, входящими в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еречень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организаций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, осуществляющих выпуск учебных пособий...</a:t>
            </a:r>
          </a:p>
        </p:txBody>
      </p:sp>
      <p:sp>
        <p:nvSpPr>
          <p:cNvPr id="73" name="object 14"/>
          <p:cNvSpPr txBox="1"/>
          <p:nvPr/>
        </p:nvSpPr>
        <p:spPr>
          <a:xfrm>
            <a:off x="3101381" y="3262485"/>
            <a:ext cx="8083185" cy="958355"/>
          </a:xfrm>
          <a:prstGeom prst="rect">
            <a:avLst/>
          </a:prstGeom>
        </p:spPr>
        <p:txBody>
          <a:bodyPr vert="horz" wrap="square" lIns="96000" tIns="0" rIns="0" bIns="0" rtlCol="0" anchor="ctr" anchorCtr="0">
            <a:noAutofit/>
          </a:bodyPr>
          <a:lstStyle/>
          <a:p>
            <a:pPr marL="12700" marR="345431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т. 28, п. 3.9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К компетенции образовательной организации в  установленной сфере деятельности относятся: определение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писка  учебников в соответствии с утвержденным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федеральным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еречнем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иков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, рекомендованных к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использованию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при реализации имеющих  государственную аккредитацию образовательных программ … общего  образования организациями,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осуществляющими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образовательную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деятельность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, а также учебных пособий, </a:t>
            </a:r>
            <a:r>
              <a:rPr sz="1200" b="1" spc="-40" dirty="0" err="1">
                <a:ea typeface="Open Sans" panose="020B0606030504020204" pitchFamily="34" charset="0"/>
                <a:cs typeface="Open Sans" panose="020B0606030504020204" pitchFamily="34" charset="0"/>
              </a:rPr>
              <a:t>допущенных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 к</a:t>
            </a:r>
            <a:r>
              <a:rPr lang="ru-RU"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b="1" spc="-40" dirty="0" err="1">
                <a:ea typeface="Open Sans" panose="020B0606030504020204" pitchFamily="34" charset="0"/>
                <a:cs typeface="Open Sans" panose="020B0606030504020204" pitchFamily="34" charset="0"/>
              </a:rPr>
              <a:t>использованию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при  реализации указанных образовательных программ такими организациями…</a:t>
            </a:r>
          </a:p>
        </p:txBody>
      </p:sp>
      <p:sp>
        <p:nvSpPr>
          <p:cNvPr id="74" name="object 21"/>
          <p:cNvSpPr txBox="1"/>
          <p:nvPr/>
        </p:nvSpPr>
        <p:spPr>
          <a:xfrm>
            <a:off x="3101378" y="5341505"/>
            <a:ext cx="8083188" cy="967815"/>
          </a:xfrm>
          <a:prstGeom prst="rect">
            <a:avLst/>
          </a:prstGeom>
        </p:spPr>
        <p:txBody>
          <a:bodyPr vert="horz" wrap="square" lIns="96000" tIns="0" rIns="0" bIns="0" rtlCol="0" anchor="ctr" anchorCtr="0">
            <a:noAutofit/>
          </a:bodyPr>
          <a:lstStyle/>
          <a:p>
            <a:pPr marL="13334" marR="297173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т. 35, п. 1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Обучающимся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, осваивающим основные  образовательные программы за счет бюджетных ассигнований  федерального бюджета, бюджетов субъектов Российской</a:t>
            </a:r>
          </a:p>
          <a:p>
            <a:pPr marL="13334" marR="24130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Федерации и местных бюджетов в пределах ФГОС, организациями,  осуществляющими образовательную деятельность, </a:t>
            </a:r>
            <a:r>
              <a:rPr sz="1200" b="1" spc="-40" dirty="0" err="1">
                <a:ea typeface="Open Sans" panose="020B0606030504020204" pitchFamily="34" charset="0"/>
                <a:cs typeface="Open Sans" panose="020B0606030504020204" pitchFamily="34" charset="0"/>
              </a:rPr>
              <a:t>бесплатно</a:t>
            </a:r>
            <a:r>
              <a:rPr lang="ru-RU"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предоставляются в пользование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на время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олучения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образования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b="1" spc="-4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ики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 и учебные пособия…</a:t>
            </a:r>
          </a:p>
        </p:txBody>
      </p:sp>
      <p:sp>
        <p:nvSpPr>
          <p:cNvPr id="75" name="object 25"/>
          <p:cNvSpPr txBox="1"/>
          <p:nvPr/>
        </p:nvSpPr>
        <p:spPr>
          <a:xfrm>
            <a:off x="3101379" y="4296635"/>
            <a:ext cx="8083187" cy="973163"/>
          </a:xfrm>
          <a:prstGeom prst="rect">
            <a:avLst/>
          </a:prstGeom>
        </p:spPr>
        <p:txBody>
          <a:bodyPr vert="horz" wrap="square" lIns="96000" tIns="0" rIns="0" bIns="0" rtlCol="0" anchor="ctr" anchorCtr="0">
            <a:noAutofit/>
          </a:bodyPr>
          <a:lstStyle/>
          <a:p>
            <a:pPr marL="12700" marR="5080">
              <a:lnSpc>
                <a:spcPct val="8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Ст. 35, п. 2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Обеспечение учебниками и учебными пособиями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…  организаций, осуществляющих образовательную деятельность по основным  образовательным программам, в пределах ФГОС …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осуществляется за  счет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бюджетных ассигнований </a:t>
            </a:r>
            <a:r>
              <a:rPr sz="1200" b="1" spc="-40" dirty="0">
                <a:ea typeface="Open Sans" panose="020B0606030504020204" pitchFamily="34" charset="0"/>
                <a:cs typeface="Open Sans" panose="020B0606030504020204" pitchFamily="34" charset="0"/>
              </a:rPr>
              <a:t>федерального бюджета, бюджетов  субъектов Российской Федерации и местных бюджетов</a:t>
            </a:r>
            <a:r>
              <a:rPr sz="12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76" name="object 27"/>
          <p:cNvSpPr txBox="1"/>
          <p:nvPr/>
        </p:nvSpPr>
        <p:spPr>
          <a:xfrm>
            <a:off x="719404" y="1181485"/>
            <a:ext cx="1808129" cy="966291"/>
          </a:xfrm>
          <a:prstGeom prst="rect">
            <a:avLst/>
          </a:prstGeom>
        </p:spPr>
        <p:txBody>
          <a:bodyPr vert="horz" wrap="square" lIns="144000" tIns="0" rIns="0" bIns="0" rtlCol="0" anchor="ctr" anchorCtr="0">
            <a:noAutofit/>
          </a:bodyPr>
          <a:lstStyle/>
          <a:p>
            <a:pPr marL="12065" marR="5080" indent="635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Библиотечный фонд  школы должен быть  укомплектован на 100%</a:t>
            </a:r>
          </a:p>
        </p:txBody>
      </p:sp>
      <p:sp>
        <p:nvSpPr>
          <p:cNvPr id="77" name="object 29"/>
          <p:cNvSpPr txBox="1"/>
          <p:nvPr/>
        </p:nvSpPr>
        <p:spPr>
          <a:xfrm>
            <a:off x="719403" y="2215553"/>
            <a:ext cx="1706980" cy="968755"/>
          </a:xfrm>
          <a:prstGeom prst="rect">
            <a:avLst/>
          </a:prstGeom>
        </p:spPr>
        <p:txBody>
          <a:bodyPr vert="horz" wrap="square" lIns="144000" tIns="0" rIns="0" bIns="0" rtlCol="0" anchor="ctr" anchorCtr="0">
            <a:noAutofit/>
          </a:bodyPr>
          <a:lstStyle/>
          <a:p>
            <a:pPr marL="12065" marR="5080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Школа сама выбирает  учебники и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ые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особия</a:t>
            </a:r>
            <a:endParaRPr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8" name="object 31"/>
          <p:cNvSpPr txBox="1"/>
          <p:nvPr/>
        </p:nvSpPr>
        <p:spPr>
          <a:xfrm>
            <a:off x="719404" y="3248125"/>
            <a:ext cx="1808128" cy="972715"/>
          </a:xfrm>
          <a:prstGeom prst="rect">
            <a:avLst/>
          </a:prstGeom>
        </p:spPr>
        <p:txBody>
          <a:bodyPr vert="horz" wrap="square" lIns="144000" tIns="0" rIns="0" bIns="0" rtlCol="0" anchor="ctr" anchorCtr="0">
            <a:noAutofit/>
          </a:bodyPr>
          <a:lstStyle/>
          <a:p>
            <a:pPr marL="12700" marR="5080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Школа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сама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допускает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endParaRPr lang="ru-RU" sz="12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5080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к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использованию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в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ом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процессе те  или иные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ые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особия</a:t>
            </a:r>
            <a:endParaRPr sz="12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" name="object 33"/>
          <p:cNvSpPr txBox="1"/>
          <p:nvPr/>
        </p:nvSpPr>
        <p:spPr>
          <a:xfrm>
            <a:off x="729185" y="4285778"/>
            <a:ext cx="1798347" cy="969660"/>
          </a:xfrm>
          <a:prstGeom prst="rect">
            <a:avLst/>
          </a:prstGeom>
        </p:spPr>
        <p:txBody>
          <a:bodyPr vert="horz" wrap="square" lIns="144000" tIns="0" rIns="0" bIns="0" rtlCol="0" anchor="ctr" anchorCtr="0">
            <a:noAutofit/>
          </a:bodyPr>
          <a:lstStyle/>
          <a:p>
            <a:pPr marL="12700" marR="5080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Школа закупает  учебники и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ые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особия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за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счет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с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редств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различных  бюджетов</a:t>
            </a:r>
          </a:p>
        </p:txBody>
      </p:sp>
      <p:sp>
        <p:nvSpPr>
          <p:cNvPr id="80" name="object 35"/>
          <p:cNvSpPr txBox="1"/>
          <p:nvPr/>
        </p:nvSpPr>
        <p:spPr>
          <a:xfrm>
            <a:off x="733078" y="5324435"/>
            <a:ext cx="2002549" cy="984885"/>
          </a:xfrm>
          <a:prstGeom prst="rect">
            <a:avLst/>
          </a:prstGeom>
        </p:spPr>
        <p:txBody>
          <a:bodyPr vert="horz" wrap="square" lIns="144000" tIns="0" rIns="0" bIns="0" rtlCol="0" anchor="ctr" anchorCtr="0">
            <a:noAutofit/>
          </a:bodyPr>
          <a:lstStyle/>
          <a:p>
            <a:pPr marL="12700" marR="5080">
              <a:lnSpc>
                <a:spcPct val="90000"/>
              </a:lnSpc>
            </a:pP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Школа бесплатно из своих 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фондов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редоставляет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в 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пользование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обучающимся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ики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и</a:t>
            </a:r>
            <a:r>
              <a:rPr lang="ru-RU" sz="12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sz="1200" dirty="0" err="1">
                <a:ea typeface="Open Sans" panose="020B0606030504020204" pitchFamily="34" charset="0"/>
                <a:cs typeface="Open Sans" panose="020B0606030504020204" pitchFamily="34" charset="0"/>
              </a:rPr>
              <a:t>учебные</a:t>
            </a:r>
            <a:r>
              <a:rPr sz="1200" dirty="0">
                <a:ea typeface="Open Sans" panose="020B0606030504020204" pitchFamily="34" charset="0"/>
                <a:cs typeface="Open Sans" panose="020B0606030504020204" pitchFamily="34" charset="0"/>
              </a:rPr>
              <a:t> пособия</a:t>
            </a:r>
          </a:p>
        </p:txBody>
      </p:sp>
      <p:sp>
        <p:nvSpPr>
          <p:cNvPr id="50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194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826069" y="89674"/>
            <a:ext cx="9237443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екомендации по обновлению и комплектованию учебниками библиотечных фондов образовательных организаций в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02</a:t>
            </a:r>
            <a:r>
              <a:rPr lang="en-US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году </a:t>
            </a:r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141507"/>
              </p:ext>
            </p:extLst>
          </p:nvPr>
        </p:nvGraphicFramePr>
        <p:xfrm>
          <a:off x="295718" y="830115"/>
          <a:ext cx="11696826" cy="550792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016930">
                  <a:extLst>
                    <a:ext uri="{9D8B030D-6E8A-4147-A177-3AD203B41FA5}">
                      <a16:colId xmlns:a16="http://schemas.microsoft.com/office/drawing/2014/main" val="4015112189"/>
                    </a:ext>
                  </a:extLst>
                </a:gridCol>
                <a:gridCol w="5679896">
                  <a:extLst>
                    <a:ext uri="{9D8B030D-6E8A-4147-A177-3AD203B41FA5}">
                      <a16:colId xmlns:a16="http://schemas.microsoft.com/office/drawing/2014/main" val="3691814679"/>
                    </a:ext>
                  </a:extLst>
                </a:gridCol>
              </a:tblGrid>
              <a:tr h="449945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spc="-40" dirty="0" smtClean="0">
                          <a:solidFill>
                            <a:schemeClr val="bg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ЕДПОСЫЛКИ</a:t>
                      </a:r>
                      <a:endParaRPr lang="ru-RU" sz="1200" b="1" kern="1200" spc="-40" dirty="0">
                        <a:solidFill>
                          <a:schemeClr val="bg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spc="-40" dirty="0" smtClean="0">
                          <a:solidFill>
                            <a:schemeClr val="bg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КОМЕНДАЦИИ</a:t>
                      </a:r>
                      <a:endParaRPr lang="ru-RU" sz="1200" b="1" kern="1200" spc="-40" dirty="0">
                        <a:solidFill>
                          <a:schemeClr val="bg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94188"/>
                  </a:ext>
                </a:extLst>
              </a:tr>
              <a:tr h="55613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ост численности учащихся и ввод в эксплуатацию новых школ </a:t>
                      </a:r>
                    </a:p>
                    <a:p>
                      <a:endParaRPr lang="ru-RU" sz="1200" dirty="0"/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купить учебники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ля 1ых и 5ых классов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 учётом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величения контингента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чащихся и учащихся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школ-новостроек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591681"/>
                  </a:ext>
                </a:extLst>
              </a:tr>
              <a:tr h="689018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новый лицензионный контроль над деятельностью образовательных организаций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ля учащихся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классов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зачисленных в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 г.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предусмотреть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беспечение библиотечных фондов учебниками на 3 года для 2 – 4 классов,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оответствующих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ФГОС НОО – 2009 г.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706852"/>
                  </a:ext>
                </a:extLst>
              </a:tr>
              <a:tr h="44849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44000" marR="144000" marT="0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ля учащихся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 классов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зачисленных в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 г.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предусмотреть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беспечение библиотечных фондов учебниками на 4 года для 6 – 9 классов,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оответствующих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ФГОС ООО – 2010 г. 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002226"/>
                  </a:ext>
                </a:extLst>
              </a:tr>
              <a:tr h="448493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зическая утрата или частичная либо полная утрата потребительских свойств учебников (утрата, ветхость, дефектность, устарелость по содержанию,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профильность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endParaRPr lang="ru-RU" sz="1200" dirty="0"/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бновление учебников 2018 года издания или ранее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:  </a:t>
                      </a:r>
                      <a:endParaRPr lang="en-US" sz="1200" b="0" kern="1200" dirty="0" smtClean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  <a:hlinkClick r:id="rId2"/>
                        </a:rPr>
                        <a:t>https://cloud.prosv.ru/apps/onlyoffice/s/PX5YP76RZg8HwfF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endParaRPr lang="ru-RU" sz="1200" b="0" kern="1200" dirty="0" smtClean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848397"/>
                  </a:ext>
                </a:extLst>
              </a:tr>
              <a:tr h="633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новление образовательных стандартов начального и основного общего образования, в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: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купка учебников и учебных пособий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ля реализации части </a:t>
                      </a:r>
                      <a:r>
                        <a:rPr lang="ru-RU" sz="12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чебного плана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,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формируемого участниками образовательных отношений, в </a:t>
                      </a: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.ч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041431"/>
                  </a:ext>
                </a:extLst>
              </a:tr>
              <a:tr h="633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явление в школьных программах новых предметов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купка учебников по русскому родному языку и родной русской литературе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(«Русский родной язык», «Родная русская литература») на контингент 1 – 9 классов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23359"/>
                  </a:ext>
                </a:extLst>
              </a:tr>
              <a:tr h="633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ализация требований по формированию функциональной грамотности обучающихся, включающей овладение ключевыми компетенциями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купка учебных пособий 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для реализации задачи формирования функциональной грамотности учащихся 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378754"/>
                  </a:ext>
                </a:extLst>
              </a:tr>
              <a:tr h="633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новление содержания учебных предметов и примерных рабочих программ,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бновление учебников 2020 года издания или ранее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о учебному предмету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«История» 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(учебники по всеобщей истории и истории России)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44000" marR="144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846491"/>
                  </a:ext>
                </a:extLst>
              </a:tr>
            </a:tbl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802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925</TotalTime>
  <Words>4869</Words>
  <Application>Microsoft Office PowerPoint</Application>
  <PresentationFormat>Широкоэкранный</PresentationFormat>
  <Paragraphs>606</Paragraphs>
  <Slides>37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7</vt:i4>
      </vt:variant>
    </vt:vector>
  </HeadingPairs>
  <TitlesOfParts>
    <vt:vector size="55" baseType="lpstr">
      <vt:lpstr>Yu Gothic UI Light</vt:lpstr>
      <vt:lpstr>Yu Gothic UI Semibold</vt:lpstr>
      <vt:lpstr>Arial</vt:lpstr>
      <vt:lpstr>Calibri</vt:lpstr>
      <vt:lpstr>Calibri Light</vt:lpstr>
      <vt:lpstr>Cambria</vt:lpstr>
      <vt:lpstr>Franklin Gothic Book</vt:lpstr>
      <vt:lpstr>Lato</vt:lpstr>
      <vt:lpstr>Lato Bold</vt:lpstr>
      <vt:lpstr>Open Sans</vt:lpstr>
      <vt:lpstr>Open Sans Condensed</vt:lpstr>
      <vt:lpstr>Open Sans Condensed Light</vt:lpstr>
      <vt:lpstr>Open Sans Light</vt:lpstr>
      <vt:lpstr>Times New Roman</vt:lpstr>
      <vt:lpstr>Wingdings</vt:lpstr>
      <vt:lpstr>Тема Office</vt:lpstr>
      <vt:lpstr>Слайд think-cell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ифровой сервис «ПРОвоспитание» — обеспечение единого подхода к содержанию воспитательной деятельности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Анашкина Екатерина Борисовна</cp:lastModifiedBy>
  <cp:revision>164</cp:revision>
  <cp:lastPrinted>2021-11-24T14:40:14Z</cp:lastPrinted>
  <dcterms:created xsi:type="dcterms:W3CDTF">2020-02-25T09:30:21Z</dcterms:created>
  <dcterms:modified xsi:type="dcterms:W3CDTF">2021-12-10T14:30:14Z</dcterms:modified>
</cp:coreProperties>
</file>